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4"/>
  </p:notesMasterIdLst>
  <p:handoutMasterIdLst>
    <p:handoutMasterId r:id="rId35"/>
  </p:handoutMasterIdLst>
  <p:sldIdLst>
    <p:sldId id="681" r:id="rId5"/>
    <p:sldId id="683" r:id="rId6"/>
    <p:sldId id="284" r:id="rId7"/>
    <p:sldId id="690" r:id="rId8"/>
    <p:sldId id="694" r:id="rId9"/>
    <p:sldId id="813" r:id="rId10"/>
    <p:sldId id="721" r:id="rId11"/>
    <p:sldId id="774" r:id="rId12"/>
    <p:sldId id="806" r:id="rId13"/>
    <p:sldId id="807" r:id="rId14"/>
    <p:sldId id="4043" r:id="rId15"/>
    <p:sldId id="4041" r:id="rId16"/>
    <p:sldId id="4033" r:id="rId17"/>
    <p:sldId id="4022" r:id="rId18"/>
    <p:sldId id="768" r:id="rId19"/>
    <p:sldId id="766" r:id="rId20"/>
    <p:sldId id="4024" r:id="rId21"/>
    <p:sldId id="820" r:id="rId22"/>
    <p:sldId id="737" r:id="rId23"/>
    <p:sldId id="4023" r:id="rId24"/>
    <p:sldId id="826" r:id="rId25"/>
    <p:sldId id="4030" r:id="rId26"/>
    <p:sldId id="824" r:id="rId27"/>
    <p:sldId id="4031" r:id="rId28"/>
    <p:sldId id="4042" r:id="rId29"/>
    <p:sldId id="803" r:id="rId30"/>
    <p:sldId id="4027" r:id="rId31"/>
    <p:sldId id="4044" r:id="rId32"/>
    <p:sldId id="795" r:id="rId33"/>
  </p:sldIdLst>
  <p:sldSz cx="12192000" cy="6858000"/>
  <p:notesSz cx="7004050" cy="92900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6455C3D-F478-5200-7890-9518D1F80781}" name="Winner, Kendra (DESE)" initials="KW" userId="S::Kendra.L.Winner@mass.gov::c4a8ae17-bfa4-40c2-a450-c325afb6dbe1" providerId="AD"/>
  <p188:author id="{6614484E-DB1C-34D9-13CB-9AE80937788B}" name="Resetarits, Jake S. (DESE)" initials="JR" userId="S::jake.s.resetarits@mass.gov::37741e96-5ecb-4258-9857-666183bdd9bd" providerId="AD"/>
  <p188:author id="{5A887EBD-D7AF-3648-E18A-89DADD383112}" name="Jacobsen, Leif (DESE)" initials="" userId="S::Leif.Jacobsen@mass.gov::3cdc3877-ab1c-4726-8835-23af03d4ee3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FF61E0-084D-435A-B400-2121D1AAA4FE}" v="7788" dt="2025-11-13T21:03:49.265"/>
    <p1510:client id="{52AAF49C-CFDD-46B5-9BBE-396B0B83D09B}" v="1" dt="2025-11-14T14:40:59.214"/>
    <p1510:client id="{9A025B2B-403F-4F73-844A-68BC613CE0D5}" v="46" dt="2025-11-13T21:09:11.4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42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setarits, Jake S. (DESE)" userId="37741e96-5ecb-4258-9857-666183bdd9bd" providerId="ADAL" clId="{E3026C01-E540-49FF-A09D-C957810A065F}"/>
    <pc:docChg chg="custSel modSld">
      <pc:chgData name="Resetarits, Jake S. (DESE)" userId="37741e96-5ecb-4258-9857-666183bdd9bd" providerId="ADAL" clId="{E3026C01-E540-49FF-A09D-C957810A065F}" dt="2025-11-14T19:41:11.423" v="93" actId="6549"/>
      <pc:docMkLst>
        <pc:docMk/>
      </pc:docMkLst>
      <pc:sldChg chg="modSp mod modNotesTx">
        <pc:chgData name="Resetarits, Jake S. (DESE)" userId="37741e96-5ecb-4258-9857-666183bdd9bd" providerId="ADAL" clId="{E3026C01-E540-49FF-A09D-C957810A065F}" dt="2025-11-14T19:39:28.590" v="80" actId="20577"/>
        <pc:sldMkLst>
          <pc:docMk/>
          <pc:sldMk cId="1946468448" sldId="284"/>
        </pc:sldMkLst>
        <pc:spChg chg="mod">
          <ac:chgData name="Resetarits, Jake S. (DESE)" userId="37741e96-5ecb-4258-9857-666183bdd9bd" providerId="ADAL" clId="{E3026C01-E540-49FF-A09D-C957810A065F}" dt="2025-11-14T14:39:59.795" v="2" actId="962"/>
          <ac:spMkLst>
            <pc:docMk/>
            <pc:sldMk cId="1946468448" sldId="284"/>
            <ac:spMk id="3" creationId="{00000000-0000-0000-0000-000000000000}"/>
          </ac:spMkLst>
        </pc:spChg>
        <pc:graphicFrameChg chg="mod">
          <ac:chgData name="Resetarits, Jake S. (DESE)" userId="37741e96-5ecb-4258-9857-666183bdd9bd" providerId="ADAL" clId="{E3026C01-E540-49FF-A09D-C957810A065F}" dt="2025-11-14T14:39:56.929" v="1" actId="962"/>
          <ac:graphicFrameMkLst>
            <pc:docMk/>
            <pc:sldMk cId="1946468448" sldId="284"/>
            <ac:graphicFrameMk id="7" creationId="{4C7423AA-417F-49CB-B986-B1E3095A040A}"/>
          </ac:graphicFrameMkLst>
        </pc:graphicFrameChg>
      </pc:sldChg>
      <pc:sldChg chg="delSp modSp mod">
        <pc:chgData name="Resetarits, Jake S. (DESE)" userId="37741e96-5ecb-4258-9857-666183bdd9bd" providerId="ADAL" clId="{E3026C01-E540-49FF-A09D-C957810A065F}" dt="2025-11-14T14:42:10.103" v="58" actId="13244"/>
        <pc:sldMkLst>
          <pc:docMk/>
          <pc:sldMk cId="3956702198" sldId="683"/>
        </pc:sldMkLst>
        <pc:spChg chg="ord">
          <ac:chgData name="Resetarits, Jake S. (DESE)" userId="37741e96-5ecb-4258-9857-666183bdd9bd" providerId="ADAL" clId="{E3026C01-E540-49FF-A09D-C957810A065F}" dt="2025-11-14T14:41:53.317" v="57" actId="13244"/>
          <ac:spMkLst>
            <pc:docMk/>
            <pc:sldMk cId="3956702198" sldId="683"/>
            <ac:spMk id="2" creationId="{00000000-0000-0000-0000-000000000000}"/>
          </ac:spMkLst>
        </pc:spChg>
        <pc:spChg chg="ord">
          <ac:chgData name="Resetarits, Jake S. (DESE)" userId="37741e96-5ecb-4258-9857-666183bdd9bd" providerId="ADAL" clId="{E3026C01-E540-49FF-A09D-C957810A065F}" dt="2025-11-14T14:42:10.103" v="58" actId="13244"/>
          <ac:spMkLst>
            <pc:docMk/>
            <pc:sldMk cId="3956702198" sldId="683"/>
            <ac:spMk id="4" creationId="{00000000-0000-0000-0000-000000000000}"/>
          </ac:spMkLst>
        </pc:spChg>
        <pc:picChg chg="del">
          <ac:chgData name="Resetarits, Jake S. (DESE)" userId="37741e96-5ecb-4258-9857-666183bdd9bd" providerId="ADAL" clId="{E3026C01-E540-49FF-A09D-C957810A065F}" dt="2025-11-14T14:39:38.660" v="0" actId="478"/>
          <ac:picMkLst>
            <pc:docMk/>
            <pc:sldMk cId="3956702198" sldId="683"/>
            <ac:picMk id="6" creationId="{E24674B7-3190-8C73-F8B7-6590089038A3}"/>
          </ac:picMkLst>
        </pc:picChg>
      </pc:sldChg>
      <pc:sldChg chg="modSp mod">
        <pc:chgData name="Resetarits, Jake S. (DESE)" userId="37741e96-5ecb-4258-9857-666183bdd9bd" providerId="ADAL" clId="{E3026C01-E540-49FF-A09D-C957810A065F}" dt="2025-11-14T14:42:16.914" v="59" actId="13244"/>
        <pc:sldMkLst>
          <pc:docMk/>
          <pc:sldMk cId="2755640326" sldId="690"/>
        </pc:sldMkLst>
        <pc:spChg chg="ord">
          <ac:chgData name="Resetarits, Jake S. (DESE)" userId="37741e96-5ecb-4258-9857-666183bdd9bd" providerId="ADAL" clId="{E3026C01-E540-49FF-A09D-C957810A065F}" dt="2025-11-14T14:42:16.914" v="59" actId="13244"/>
          <ac:spMkLst>
            <pc:docMk/>
            <pc:sldMk cId="2755640326" sldId="690"/>
            <ac:spMk id="3" creationId="{C36B3FBA-1B60-8402-DDDC-655B37DAEFDC}"/>
          </ac:spMkLst>
        </pc:spChg>
      </pc:sldChg>
      <pc:sldChg chg="modSp mod modNotesTx">
        <pc:chgData name="Resetarits, Jake S. (DESE)" userId="37741e96-5ecb-4258-9857-666183bdd9bd" providerId="ADAL" clId="{E3026C01-E540-49FF-A09D-C957810A065F}" dt="2025-11-14T19:39:38.782" v="81" actId="6549"/>
        <pc:sldMkLst>
          <pc:docMk/>
          <pc:sldMk cId="3936691243" sldId="694"/>
        </pc:sldMkLst>
        <pc:spChg chg="ord">
          <ac:chgData name="Resetarits, Jake S. (DESE)" userId="37741e96-5ecb-4258-9857-666183bdd9bd" providerId="ADAL" clId="{E3026C01-E540-49FF-A09D-C957810A065F}" dt="2025-11-14T14:42:23.010" v="60" actId="13244"/>
          <ac:spMkLst>
            <pc:docMk/>
            <pc:sldMk cId="3936691243" sldId="694"/>
            <ac:spMk id="3" creationId="{F08F214B-2C64-D00F-2ABD-488A3B0A1B16}"/>
          </ac:spMkLst>
        </pc:spChg>
        <pc:picChg chg="mod">
          <ac:chgData name="Resetarits, Jake S. (DESE)" userId="37741e96-5ecb-4258-9857-666183bdd9bd" providerId="ADAL" clId="{E3026C01-E540-49FF-A09D-C957810A065F}" dt="2025-11-14T14:40:30.540" v="4" actId="962"/>
          <ac:picMkLst>
            <pc:docMk/>
            <pc:sldMk cId="3936691243" sldId="694"/>
            <ac:picMk id="6" creationId="{3C3B570F-D8E2-19B3-AF57-526E0D13805F}"/>
          </ac:picMkLst>
        </pc:picChg>
      </pc:sldChg>
      <pc:sldChg chg="modNotesTx">
        <pc:chgData name="Resetarits, Jake S. (DESE)" userId="37741e96-5ecb-4258-9857-666183bdd9bd" providerId="ADAL" clId="{E3026C01-E540-49FF-A09D-C957810A065F}" dt="2025-11-14T19:39:43.789" v="82" actId="6549"/>
        <pc:sldMkLst>
          <pc:docMk/>
          <pc:sldMk cId="1990031964" sldId="721"/>
        </pc:sldMkLst>
      </pc:sldChg>
      <pc:sldChg chg="modSp mod modNotesTx">
        <pc:chgData name="Resetarits, Jake S. (DESE)" userId="37741e96-5ecb-4258-9857-666183bdd9bd" providerId="ADAL" clId="{E3026C01-E540-49FF-A09D-C957810A065F}" dt="2025-11-14T19:40:51.517" v="89" actId="6549"/>
        <pc:sldMkLst>
          <pc:docMk/>
          <pc:sldMk cId="3188404755" sldId="737"/>
        </pc:sldMkLst>
        <pc:spChg chg="mod ord">
          <ac:chgData name="Resetarits, Jake S. (DESE)" userId="37741e96-5ecb-4258-9857-666183bdd9bd" providerId="ADAL" clId="{E3026C01-E540-49FF-A09D-C957810A065F}" dt="2025-11-14T14:43:07.643" v="70" actId="13244"/>
          <ac:spMkLst>
            <pc:docMk/>
            <pc:sldMk cId="3188404755" sldId="737"/>
            <ac:spMk id="3" creationId="{610D32AB-DE28-FEF2-886E-39C01EA0820C}"/>
          </ac:spMkLst>
        </pc:spChg>
      </pc:sldChg>
      <pc:sldChg chg="modNotesTx">
        <pc:chgData name="Resetarits, Jake S. (DESE)" userId="37741e96-5ecb-4258-9857-666183bdd9bd" providerId="ADAL" clId="{E3026C01-E540-49FF-A09D-C957810A065F}" dt="2025-11-14T19:40:42.717" v="87" actId="6549"/>
        <pc:sldMkLst>
          <pc:docMk/>
          <pc:sldMk cId="3921161982" sldId="766"/>
        </pc:sldMkLst>
      </pc:sldChg>
      <pc:sldChg chg="modSp mod modNotesTx">
        <pc:chgData name="Resetarits, Jake S. (DESE)" userId="37741e96-5ecb-4258-9857-666183bdd9bd" providerId="ADAL" clId="{E3026C01-E540-49FF-A09D-C957810A065F}" dt="2025-11-14T19:40:40.306" v="86" actId="6549"/>
        <pc:sldMkLst>
          <pc:docMk/>
          <pc:sldMk cId="1597620043" sldId="768"/>
        </pc:sldMkLst>
        <pc:spChg chg="mod">
          <ac:chgData name="Resetarits, Jake S. (DESE)" userId="37741e96-5ecb-4258-9857-666183bdd9bd" providerId="ADAL" clId="{E3026C01-E540-49FF-A09D-C957810A065F}" dt="2025-11-14T14:40:54.680" v="10" actId="962"/>
          <ac:spMkLst>
            <pc:docMk/>
            <pc:sldMk cId="1597620043" sldId="768"/>
            <ac:spMk id="4" creationId="{75AB38C6-7548-53F8-2D14-64E044B9E7AF}"/>
          </ac:spMkLst>
        </pc:spChg>
      </pc:sldChg>
      <pc:sldChg chg="modSp mod">
        <pc:chgData name="Resetarits, Jake S. (DESE)" userId="37741e96-5ecb-4258-9857-666183bdd9bd" providerId="ADAL" clId="{E3026C01-E540-49FF-A09D-C957810A065F}" dt="2025-11-14T14:43:23.255" v="78" actId="13244"/>
        <pc:sldMkLst>
          <pc:docMk/>
          <pc:sldMk cId="51103621" sldId="795"/>
        </pc:sldMkLst>
        <pc:spChg chg="ord">
          <ac:chgData name="Resetarits, Jake S. (DESE)" userId="37741e96-5ecb-4258-9857-666183bdd9bd" providerId="ADAL" clId="{E3026C01-E540-49FF-A09D-C957810A065F}" dt="2025-11-14T14:43:23.255" v="78" actId="13244"/>
          <ac:spMkLst>
            <pc:docMk/>
            <pc:sldMk cId="51103621" sldId="795"/>
            <ac:spMk id="3" creationId="{30CCC43C-1D01-BF7C-DA4C-27FBE6F1FC06}"/>
          </ac:spMkLst>
        </pc:spChg>
      </pc:sldChg>
      <pc:sldChg chg="modSp mod modNotesTx">
        <pc:chgData name="Resetarits, Jake S. (DESE)" userId="37741e96-5ecb-4258-9857-666183bdd9bd" providerId="ADAL" clId="{E3026C01-E540-49FF-A09D-C957810A065F}" dt="2025-11-14T19:41:08.021" v="92" actId="6549"/>
        <pc:sldMkLst>
          <pc:docMk/>
          <pc:sldMk cId="1185516745" sldId="803"/>
        </pc:sldMkLst>
        <pc:spChg chg="ord">
          <ac:chgData name="Resetarits, Jake S. (DESE)" userId="37741e96-5ecb-4258-9857-666183bdd9bd" providerId="ADAL" clId="{E3026C01-E540-49FF-A09D-C957810A065F}" dt="2025-11-14T14:43:19.590" v="76" actId="13244"/>
          <ac:spMkLst>
            <pc:docMk/>
            <pc:sldMk cId="1185516745" sldId="803"/>
            <ac:spMk id="3" creationId="{845CDED8-DBA1-D9B9-67A5-64B134066278}"/>
          </ac:spMkLst>
        </pc:spChg>
      </pc:sldChg>
      <pc:sldChg chg="modSp mod">
        <pc:chgData name="Resetarits, Jake S. (DESE)" userId="37741e96-5ecb-4258-9857-666183bdd9bd" providerId="ADAL" clId="{E3026C01-E540-49FF-A09D-C957810A065F}" dt="2025-11-14T14:42:32.257" v="62" actId="13244"/>
        <pc:sldMkLst>
          <pc:docMk/>
          <pc:sldMk cId="1323650034" sldId="806"/>
        </pc:sldMkLst>
        <pc:spChg chg="ord">
          <ac:chgData name="Resetarits, Jake S. (DESE)" userId="37741e96-5ecb-4258-9857-666183bdd9bd" providerId="ADAL" clId="{E3026C01-E540-49FF-A09D-C957810A065F}" dt="2025-11-14T14:42:32.257" v="62" actId="13244"/>
          <ac:spMkLst>
            <pc:docMk/>
            <pc:sldMk cId="1323650034" sldId="806"/>
            <ac:spMk id="3" creationId="{04024964-00A8-9329-F705-4B2DEDBB92DF}"/>
          </ac:spMkLst>
        </pc:spChg>
      </pc:sldChg>
      <pc:sldChg chg="modSp mod modNotesTx">
        <pc:chgData name="Resetarits, Jake S. (DESE)" userId="37741e96-5ecb-4258-9857-666183bdd9bd" providerId="ADAL" clId="{E3026C01-E540-49FF-A09D-C957810A065F}" dt="2025-11-14T19:39:50.062" v="83" actId="6549"/>
        <pc:sldMkLst>
          <pc:docMk/>
          <pc:sldMk cId="502302171" sldId="807"/>
        </pc:sldMkLst>
        <pc:spChg chg="ord">
          <ac:chgData name="Resetarits, Jake S. (DESE)" userId="37741e96-5ecb-4258-9857-666183bdd9bd" providerId="ADAL" clId="{E3026C01-E540-49FF-A09D-C957810A065F}" dt="2025-11-14T14:42:34.510" v="63" actId="13244"/>
          <ac:spMkLst>
            <pc:docMk/>
            <pc:sldMk cId="502302171" sldId="807"/>
            <ac:spMk id="3" creationId="{BC7456E6-CCD5-E860-95A7-C91CC8599AE9}"/>
          </ac:spMkLst>
        </pc:spChg>
      </pc:sldChg>
      <pc:sldChg chg="modSp mod">
        <pc:chgData name="Resetarits, Jake S. (DESE)" userId="37741e96-5ecb-4258-9857-666183bdd9bd" providerId="ADAL" clId="{E3026C01-E540-49FF-A09D-C957810A065F}" dt="2025-11-14T14:42:25.991" v="61" actId="13244"/>
        <pc:sldMkLst>
          <pc:docMk/>
          <pc:sldMk cId="3794887946" sldId="813"/>
        </pc:sldMkLst>
        <pc:spChg chg="ord">
          <ac:chgData name="Resetarits, Jake S. (DESE)" userId="37741e96-5ecb-4258-9857-666183bdd9bd" providerId="ADAL" clId="{E3026C01-E540-49FF-A09D-C957810A065F}" dt="2025-11-14T14:42:25.991" v="61" actId="13244"/>
          <ac:spMkLst>
            <pc:docMk/>
            <pc:sldMk cId="3794887946" sldId="813"/>
            <ac:spMk id="3" creationId="{4F159539-8401-A73F-4824-FC194FE2080D}"/>
          </ac:spMkLst>
        </pc:spChg>
      </pc:sldChg>
      <pc:sldChg chg="modSp mod">
        <pc:chgData name="Resetarits, Jake S. (DESE)" userId="37741e96-5ecb-4258-9857-666183bdd9bd" providerId="ADAL" clId="{E3026C01-E540-49FF-A09D-C957810A065F}" dt="2025-11-14T14:43:05.665" v="69" actId="13244"/>
        <pc:sldMkLst>
          <pc:docMk/>
          <pc:sldMk cId="2789595337" sldId="820"/>
        </pc:sldMkLst>
        <pc:spChg chg="ord">
          <ac:chgData name="Resetarits, Jake S. (DESE)" userId="37741e96-5ecb-4258-9857-666183bdd9bd" providerId="ADAL" clId="{E3026C01-E540-49FF-A09D-C957810A065F}" dt="2025-11-14T14:43:05.665" v="69" actId="13244"/>
          <ac:spMkLst>
            <pc:docMk/>
            <pc:sldMk cId="2789595337" sldId="820"/>
            <ac:spMk id="3" creationId="{0DCE1912-66FA-7826-80B4-263045F4602D}"/>
          </ac:spMkLst>
        </pc:spChg>
      </pc:sldChg>
      <pc:sldChg chg="modSp mod modNotesTx">
        <pc:chgData name="Resetarits, Jake S. (DESE)" userId="37741e96-5ecb-4258-9857-666183bdd9bd" providerId="ADAL" clId="{E3026C01-E540-49FF-A09D-C957810A065F}" dt="2025-11-14T19:40:58.812" v="90" actId="6549"/>
        <pc:sldMkLst>
          <pc:docMk/>
          <pc:sldMk cId="3280772603" sldId="824"/>
        </pc:sldMkLst>
        <pc:spChg chg="ord">
          <ac:chgData name="Resetarits, Jake S. (DESE)" userId="37741e96-5ecb-4258-9857-666183bdd9bd" providerId="ADAL" clId="{E3026C01-E540-49FF-A09D-C957810A065F}" dt="2025-11-14T14:43:13.654" v="73" actId="13244"/>
          <ac:spMkLst>
            <pc:docMk/>
            <pc:sldMk cId="3280772603" sldId="824"/>
            <ac:spMk id="3" creationId="{6D39E73D-530A-8034-5F55-9513239ED9B8}"/>
          </ac:spMkLst>
        </pc:spChg>
      </pc:sldChg>
      <pc:sldChg chg="modSp mod">
        <pc:chgData name="Resetarits, Jake S. (DESE)" userId="37741e96-5ecb-4258-9857-666183bdd9bd" providerId="ADAL" clId="{E3026C01-E540-49FF-A09D-C957810A065F}" dt="2025-11-14T14:43:09.798" v="71" actId="13244"/>
        <pc:sldMkLst>
          <pc:docMk/>
          <pc:sldMk cId="523691482" sldId="826"/>
        </pc:sldMkLst>
        <pc:spChg chg="ord">
          <ac:chgData name="Resetarits, Jake S. (DESE)" userId="37741e96-5ecb-4258-9857-666183bdd9bd" providerId="ADAL" clId="{E3026C01-E540-49FF-A09D-C957810A065F}" dt="2025-11-14T14:43:09.798" v="71" actId="13244"/>
          <ac:spMkLst>
            <pc:docMk/>
            <pc:sldMk cId="523691482" sldId="826"/>
            <ac:spMk id="3" creationId="{8CCB578F-670A-8C31-00F1-C218B913C7DC}"/>
          </ac:spMkLst>
        </pc:spChg>
      </pc:sldChg>
      <pc:sldChg chg="delSp modSp mod modShow">
        <pc:chgData name="Resetarits, Jake S. (DESE)" userId="37741e96-5ecb-4258-9857-666183bdd9bd" providerId="ADAL" clId="{E3026C01-E540-49FF-A09D-C957810A065F}" dt="2025-11-14T19:40:25.728" v="85" actId="729"/>
        <pc:sldMkLst>
          <pc:docMk/>
          <pc:sldMk cId="4242857363" sldId="4022"/>
        </pc:sldMkLst>
        <pc:spChg chg="mod">
          <ac:chgData name="Resetarits, Jake S. (DESE)" userId="37741e96-5ecb-4258-9857-666183bdd9bd" providerId="ADAL" clId="{E3026C01-E540-49FF-A09D-C957810A065F}" dt="2025-11-14T14:41:20.937" v="41" actId="20577"/>
          <ac:spMkLst>
            <pc:docMk/>
            <pc:sldMk cId="4242857363" sldId="4022"/>
            <ac:spMk id="3" creationId="{5D5964D0-40C1-CB2B-9D48-006652A4FDFB}"/>
          </ac:spMkLst>
        </pc:spChg>
        <pc:spChg chg="mod">
          <ac:chgData name="Resetarits, Jake S. (DESE)" userId="37741e96-5ecb-4258-9857-666183bdd9bd" providerId="ADAL" clId="{E3026C01-E540-49FF-A09D-C957810A065F}" dt="2025-11-14T14:40:37.031" v="7" actId="962"/>
          <ac:spMkLst>
            <pc:docMk/>
            <pc:sldMk cId="4242857363" sldId="4022"/>
            <ac:spMk id="4" creationId="{145F2104-39EC-2FC1-FDC6-2736B8CC8A7D}"/>
          </ac:spMkLst>
        </pc:spChg>
        <pc:spChg chg="del">
          <ac:chgData name="Resetarits, Jake S. (DESE)" userId="37741e96-5ecb-4258-9857-666183bdd9bd" providerId="ADAL" clId="{E3026C01-E540-49FF-A09D-C957810A065F}" dt="2025-11-14T14:41:15.078" v="37" actId="478"/>
          <ac:spMkLst>
            <pc:docMk/>
            <pc:sldMk cId="4242857363" sldId="4022"/>
            <ac:spMk id="6" creationId="{F4587A13-EED8-0BE4-F442-1C8BFB38A53E}"/>
          </ac:spMkLst>
        </pc:spChg>
        <pc:spChg chg="mod">
          <ac:chgData name="Resetarits, Jake S. (DESE)" userId="37741e96-5ecb-4258-9857-666183bdd9bd" providerId="ADAL" clId="{E3026C01-E540-49FF-A09D-C957810A065F}" dt="2025-11-14T14:40:39.031" v="8" actId="962"/>
          <ac:spMkLst>
            <pc:docMk/>
            <pc:sldMk cId="4242857363" sldId="4022"/>
            <ac:spMk id="16" creationId="{0ABCA6AC-DEE2-E90A-2953-E3D239764180}"/>
          </ac:spMkLst>
        </pc:spChg>
        <pc:spChg chg="ord">
          <ac:chgData name="Resetarits, Jake S. (DESE)" userId="37741e96-5ecb-4258-9857-666183bdd9bd" providerId="ADAL" clId="{E3026C01-E540-49FF-A09D-C957810A065F}" dt="2025-11-14T14:42:51.718" v="67" actId="13244"/>
          <ac:spMkLst>
            <pc:docMk/>
            <pc:sldMk cId="4242857363" sldId="4022"/>
            <ac:spMk id="19" creationId="{C2C08470-3A33-5F06-FF78-77DBE81A1942}"/>
          </ac:spMkLst>
        </pc:spChg>
        <pc:spChg chg="ord">
          <ac:chgData name="Resetarits, Jake S. (DESE)" userId="37741e96-5ecb-4258-9857-666183bdd9bd" providerId="ADAL" clId="{E3026C01-E540-49FF-A09D-C957810A065F}" dt="2025-11-14T14:42:58.543" v="68" actId="13244"/>
          <ac:spMkLst>
            <pc:docMk/>
            <pc:sldMk cId="4242857363" sldId="4022"/>
            <ac:spMk id="23" creationId="{D55DF989-48F7-8A54-2CD0-B60D6065488A}"/>
          </ac:spMkLst>
        </pc:spChg>
      </pc:sldChg>
      <pc:sldChg chg="modSp mod">
        <pc:chgData name="Resetarits, Jake S. (DESE)" userId="37741e96-5ecb-4258-9857-666183bdd9bd" providerId="ADAL" clId="{E3026C01-E540-49FF-A09D-C957810A065F}" dt="2025-11-14T14:41:30.723" v="48" actId="20577"/>
        <pc:sldMkLst>
          <pc:docMk/>
          <pc:sldMk cId="3455092151" sldId="4023"/>
        </pc:sldMkLst>
        <pc:spChg chg="mod">
          <ac:chgData name="Resetarits, Jake S. (DESE)" userId="37741e96-5ecb-4258-9857-666183bdd9bd" providerId="ADAL" clId="{E3026C01-E540-49FF-A09D-C957810A065F}" dt="2025-11-14T14:41:30.723" v="48" actId="20577"/>
          <ac:spMkLst>
            <pc:docMk/>
            <pc:sldMk cId="3455092151" sldId="4023"/>
            <ac:spMk id="2" creationId="{3B8192CB-920F-D4DA-CACD-EFF1C8DF5094}"/>
          </ac:spMkLst>
        </pc:spChg>
        <pc:graphicFrameChg chg="mod">
          <ac:chgData name="Resetarits, Jake S. (DESE)" userId="37741e96-5ecb-4258-9857-666183bdd9bd" providerId="ADAL" clId="{E3026C01-E540-49FF-A09D-C957810A065F}" dt="2025-11-14T14:40:59.214" v="11" actId="962"/>
          <ac:graphicFrameMkLst>
            <pc:docMk/>
            <pc:sldMk cId="3455092151" sldId="4023"/>
            <ac:graphicFrameMk id="4" creationId="{0346716F-E1D1-5C5B-7756-1FB0C8EB6127}"/>
          </ac:graphicFrameMkLst>
        </pc:graphicFrameChg>
      </pc:sldChg>
      <pc:sldChg chg="modNotesTx">
        <pc:chgData name="Resetarits, Jake S. (DESE)" userId="37741e96-5ecb-4258-9857-666183bdd9bd" providerId="ADAL" clId="{E3026C01-E540-49FF-A09D-C957810A065F}" dt="2025-11-14T19:40:46.470" v="88" actId="6549"/>
        <pc:sldMkLst>
          <pc:docMk/>
          <pc:sldMk cId="3685785962" sldId="4024"/>
        </pc:sldMkLst>
      </pc:sldChg>
      <pc:sldChg chg="modSp mod">
        <pc:chgData name="Resetarits, Jake S. (DESE)" userId="37741e96-5ecb-4258-9857-666183bdd9bd" providerId="ADAL" clId="{E3026C01-E540-49FF-A09D-C957810A065F}" dt="2025-11-14T14:43:21.417" v="77" actId="13244"/>
        <pc:sldMkLst>
          <pc:docMk/>
          <pc:sldMk cId="2726314215" sldId="4027"/>
        </pc:sldMkLst>
        <pc:spChg chg="mod ord">
          <ac:chgData name="Resetarits, Jake S. (DESE)" userId="37741e96-5ecb-4258-9857-666183bdd9bd" providerId="ADAL" clId="{E3026C01-E540-49FF-A09D-C957810A065F}" dt="2025-11-14T14:43:21.417" v="77" actId="13244"/>
          <ac:spMkLst>
            <pc:docMk/>
            <pc:sldMk cId="2726314215" sldId="4027"/>
            <ac:spMk id="3" creationId="{C48E38F7-25D8-2307-0EFA-67189C27BFD3}"/>
          </ac:spMkLst>
        </pc:spChg>
      </pc:sldChg>
      <pc:sldChg chg="modSp mod">
        <pc:chgData name="Resetarits, Jake S. (DESE)" userId="37741e96-5ecb-4258-9857-666183bdd9bd" providerId="ADAL" clId="{E3026C01-E540-49FF-A09D-C957810A065F}" dt="2025-11-14T14:43:11.689" v="72" actId="13244"/>
        <pc:sldMkLst>
          <pc:docMk/>
          <pc:sldMk cId="3746608576" sldId="4030"/>
        </pc:sldMkLst>
        <pc:spChg chg="ord">
          <ac:chgData name="Resetarits, Jake S. (DESE)" userId="37741e96-5ecb-4258-9857-666183bdd9bd" providerId="ADAL" clId="{E3026C01-E540-49FF-A09D-C957810A065F}" dt="2025-11-14T14:43:11.689" v="72" actId="13244"/>
          <ac:spMkLst>
            <pc:docMk/>
            <pc:sldMk cId="3746608576" sldId="4030"/>
            <ac:spMk id="3" creationId="{EA3F92F3-E881-BEB0-EE90-955D724927E4}"/>
          </ac:spMkLst>
        </pc:spChg>
      </pc:sldChg>
      <pc:sldChg chg="modSp mod modNotesTx">
        <pc:chgData name="Resetarits, Jake S. (DESE)" userId="37741e96-5ecb-4258-9857-666183bdd9bd" providerId="ADAL" clId="{E3026C01-E540-49FF-A09D-C957810A065F}" dt="2025-11-14T19:41:03.822" v="91" actId="6549"/>
        <pc:sldMkLst>
          <pc:docMk/>
          <pc:sldMk cId="3525345780" sldId="4031"/>
        </pc:sldMkLst>
        <pc:spChg chg="ord">
          <ac:chgData name="Resetarits, Jake S. (DESE)" userId="37741e96-5ecb-4258-9857-666183bdd9bd" providerId="ADAL" clId="{E3026C01-E540-49FF-A09D-C957810A065F}" dt="2025-11-14T14:43:15.741" v="74" actId="13244"/>
          <ac:spMkLst>
            <pc:docMk/>
            <pc:sldMk cId="3525345780" sldId="4031"/>
            <ac:spMk id="3" creationId="{0C501A1D-B03F-B911-07A7-74BBA897D359}"/>
          </ac:spMkLst>
        </pc:spChg>
      </pc:sldChg>
      <pc:sldChg chg="modSp mod">
        <pc:chgData name="Resetarits, Jake S. (DESE)" userId="37741e96-5ecb-4258-9857-666183bdd9bd" providerId="ADAL" clId="{E3026C01-E540-49FF-A09D-C957810A065F}" dt="2025-11-14T14:42:41.033" v="66" actId="13244"/>
        <pc:sldMkLst>
          <pc:docMk/>
          <pc:sldMk cId="2439013632" sldId="4033"/>
        </pc:sldMkLst>
        <pc:spChg chg="ord">
          <ac:chgData name="Resetarits, Jake S. (DESE)" userId="37741e96-5ecb-4258-9857-666183bdd9bd" providerId="ADAL" clId="{E3026C01-E540-49FF-A09D-C957810A065F}" dt="2025-11-14T14:42:41.033" v="66" actId="13244"/>
          <ac:spMkLst>
            <pc:docMk/>
            <pc:sldMk cId="2439013632" sldId="4033"/>
            <ac:spMk id="4" creationId="{4A820FE4-1F80-4D5A-935D-633AC53EF1B2}"/>
          </ac:spMkLst>
        </pc:spChg>
      </pc:sldChg>
      <pc:sldChg chg="modSp mod modNotesTx">
        <pc:chgData name="Resetarits, Jake S. (DESE)" userId="37741e96-5ecb-4258-9857-666183bdd9bd" providerId="ADAL" clId="{E3026C01-E540-49FF-A09D-C957810A065F}" dt="2025-11-14T19:40:01.152" v="84" actId="6549"/>
        <pc:sldMkLst>
          <pc:docMk/>
          <pc:sldMk cId="2448368630" sldId="4041"/>
        </pc:sldMkLst>
        <pc:spChg chg="ord">
          <ac:chgData name="Resetarits, Jake S. (DESE)" userId="37741e96-5ecb-4258-9857-666183bdd9bd" providerId="ADAL" clId="{E3026C01-E540-49FF-A09D-C957810A065F}" dt="2025-11-14T14:42:38.896" v="65" actId="13244"/>
          <ac:spMkLst>
            <pc:docMk/>
            <pc:sldMk cId="2448368630" sldId="4041"/>
            <ac:spMk id="3" creationId="{3F9E0BB0-A961-3D1F-579E-58EF0B3CBBF3}"/>
          </ac:spMkLst>
        </pc:spChg>
      </pc:sldChg>
      <pc:sldChg chg="modSp mod modNotesTx">
        <pc:chgData name="Resetarits, Jake S. (DESE)" userId="37741e96-5ecb-4258-9857-666183bdd9bd" providerId="ADAL" clId="{E3026C01-E540-49FF-A09D-C957810A065F}" dt="2025-11-14T19:41:11.423" v="93" actId="6549"/>
        <pc:sldMkLst>
          <pc:docMk/>
          <pc:sldMk cId="1571600260" sldId="4042"/>
        </pc:sldMkLst>
        <pc:spChg chg="ord">
          <ac:chgData name="Resetarits, Jake S. (DESE)" userId="37741e96-5ecb-4258-9857-666183bdd9bd" providerId="ADAL" clId="{E3026C01-E540-49FF-A09D-C957810A065F}" dt="2025-11-14T14:43:17.661" v="75" actId="13244"/>
          <ac:spMkLst>
            <pc:docMk/>
            <pc:sldMk cId="1571600260" sldId="4042"/>
            <ac:spMk id="3" creationId="{C825B004-9E78-F25F-5638-99B1D42A690D}"/>
          </ac:spMkLst>
        </pc:spChg>
      </pc:sldChg>
      <pc:sldChg chg="modSp mod">
        <pc:chgData name="Resetarits, Jake S. (DESE)" userId="37741e96-5ecb-4258-9857-666183bdd9bd" providerId="ADAL" clId="{E3026C01-E540-49FF-A09D-C957810A065F}" dt="2025-11-14T14:42:36.389" v="64" actId="13244"/>
        <pc:sldMkLst>
          <pc:docMk/>
          <pc:sldMk cId="3417798711" sldId="4043"/>
        </pc:sldMkLst>
        <pc:spChg chg="ord">
          <ac:chgData name="Resetarits, Jake S. (DESE)" userId="37741e96-5ecb-4258-9857-666183bdd9bd" providerId="ADAL" clId="{E3026C01-E540-49FF-A09D-C957810A065F}" dt="2025-11-14T14:42:36.389" v="64" actId="13244"/>
          <ac:spMkLst>
            <pc:docMk/>
            <pc:sldMk cId="3417798711" sldId="4043"/>
            <ac:spMk id="3" creationId="{CA65BE15-9811-3910-4D94-2745AAF3362D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5F0C9A0-6592-4856-8A45-F5A1FC8D591B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FE67635-D77E-4313-9EA6-8E0BEDB6F723}">
      <dgm:prSet phldrT="[Text]" phldr="0"/>
      <dgm:spPr/>
      <dgm:t>
        <a:bodyPr/>
        <a:lstStyle/>
        <a:p>
          <a:r>
            <a:rPr lang="en-US"/>
            <a:t>NEEDS ASSESSMENT</a:t>
          </a:r>
        </a:p>
        <a:p>
          <a:r>
            <a:rPr lang="en-US"/>
            <a:t>What data identified the problem? (Metrics)</a:t>
          </a:r>
        </a:p>
      </dgm:t>
    </dgm:pt>
    <dgm:pt modelId="{3ED4E8F8-F322-41C4-92D8-71F9AAE5DD89}" type="parTrans" cxnId="{69D830BF-1A5A-4E25-9451-A0D8891F2E27}">
      <dgm:prSet/>
      <dgm:spPr/>
      <dgm:t>
        <a:bodyPr/>
        <a:lstStyle/>
        <a:p>
          <a:endParaRPr lang="en-US"/>
        </a:p>
      </dgm:t>
    </dgm:pt>
    <dgm:pt modelId="{32220B04-AB27-48F3-8812-C0227D329B82}" type="sibTrans" cxnId="{69D830BF-1A5A-4E25-9451-A0D8891F2E27}">
      <dgm:prSet/>
      <dgm:spPr/>
      <dgm:t>
        <a:bodyPr/>
        <a:lstStyle/>
        <a:p>
          <a:endParaRPr lang="en-US"/>
        </a:p>
      </dgm:t>
    </dgm:pt>
    <dgm:pt modelId="{99D62DBB-8A86-43EC-A7EA-3E17C4C6D67A}">
      <dgm:prSet phldrT="[Text]" phldr="0"/>
      <dgm:spPr/>
      <dgm:t>
        <a:bodyPr/>
        <a:lstStyle/>
        <a:p>
          <a:r>
            <a:rPr lang="en-US"/>
            <a:t>METRICS</a:t>
          </a:r>
        </a:p>
        <a:p>
          <a:r>
            <a:rPr lang="en-US"/>
            <a:t>How will we know if we made progress?</a:t>
          </a:r>
        </a:p>
      </dgm:t>
    </dgm:pt>
    <dgm:pt modelId="{9E6462FE-2E08-4CAA-BBB7-84787001B562}" type="parTrans" cxnId="{AA409B5B-4DED-49B2-B374-426C0BE3CB77}">
      <dgm:prSet/>
      <dgm:spPr/>
      <dgm:t>
        <a:bodyPr/>
        <a:lstStyle/>
        <a:p>
          <a:endParaRPr lang="en-US"/>
        </a:p>
      </dgm:t>
    </dgm:pt>
    <dgm:pt modelId="{0C348EF1-89BC-4BA3-8E27-A4382959B2DF}" type="sibTrans" cxnId="{AA409B5B-4DED-49B2-B374-426C0BE3CB77}">
      <dgm:prSet/>
      <dgm:spPr/>
      <dgm:t>
        <a:bodyPr/>
        <a:lstStyle/>
        <a:p>
          <a:endParaRPr lang="en-US"/>
        </a:p>
      </dgm:t>
    </dgm:pt>
    <dgm:pt modelId="{A146CC5A-350F-49EE-B718-712D6DC0FC09}" type="pres">
      <dgm:prSet presAssocID="{15F0C9A0-6592-4856-8A45-F5A1FC8D591B}" presName="cycle" presStyleCnt="0">
        <dgm:presLayoutVars>
          <dgm:dir/>
          <dgm:resizeHandles val="exact"/>
        </dgm:presLayoutVars>
      </dgm:prSet>
      <dgm:spPr/>
    </dgm:pt>
    <dgm:pt modelId="{4F8455C1-9268-4B93-A116-8281EC7C15AE}" type="pres">
      <dgm:prSet presAssocID="{AFE67635-D77E-4313-9EA6-8E0BEDB6F723}" presName="node" presStyleLbl="node1" presStyleIdx="0" presStyleCnt="2">
        <dgm:presLayoutVars>
          <dgm:bulletEnabled val="1"/>
        </dgm:presLayoutVars>
      </dgm:prSet>
      <dgm:spPr/>
    </dgm:pt>
    <dgm:pt modelId="{89F14686-6A98-428C-943E-ED43D04E4051}" type="pres">
      <dgm:prSet presAssocID="{AFE67635-D77E-4313-9EA6-8E0BEDB6F723}" presName="spNode" presStyleCnt="0"/>
      <dgm:spPr/>
    </dgm:pt>
    <dgm:pt modelId="{AA5E6F97-4A87-4E9F-815D-24402B79BDDF}" type="pres">
      <dgm:prSet presAssocID="{32220B04-AB27-48F3-8812-C0227D329B82}" presName="sibTrans" presStyleLbl="sibTrans1D1" presStyleIdx="0" presStyleCnt="2"/>
      <dgm:spPr/>
    </dgm:pt>
    <dgm:pt modelId="{34CE4AD4-7546-412C-BD97-E75D4C4F3669}" type="pres">
      <dgm:prSet presAssocID="{99D62DBB-8A86-43EC-A7EA-3E17C4C6D67A}" presName="node" presStyleLbl="node1" presStyleIdx="1" presStyleCnt="2">
        <dgm:presLayoutVars>
          <dgm:bulletEnabled val="1"/>
        </dgm:presLayoutVars>
      </dgm:prSet>
      <dgm:spPr/>
    </dgm:pt>
    <dgm:pt modelId="{CE786157-30E6-4D3E-A9D5-8E93BDAC2F35}" type="pres">
      <dgm:prSet presAssocID="{99D62DBB-8A86-43EC-A7EA-3E17C4C6D67A}" presName="spNode" presStyleCnt="0"/>
      <dgm:spPr/>
    </dgm:pt>
    <dgm:pt modelId="{1C8ED868-21F4-4396-965B-023959D166CA}" type="pres">
      <dgm:prSet presAssocID="{0C348EF1-89BC-4BA3-8E27-A4382959B2DF}" presName="sibTrans" presStyleLbl="sibTrans1D1" presStyleIdx="1" presStyleCnt="2"/>
      <dgm:spPr/>
    </dgm:pt>
  </dgm:ptLst>
  <dgm:cxnLst>
    <dgm:cxn modelId="{AA409B5B-4DED-49B2-B374-426C0BE3CB77}" srcId="{15F0C9A0-6592-4856-8A45-F5A1FC8D591B}" destId="{99D62DBB-8A86-43EC-A7EA-3E17C4C6D67A}" srcOrd="1" destOrd="0" parTransId="{9E6462FE-2E08-4CAA-BBB7-84787001B562}" sibTransId="{0C348EF1-89BC-4BA3-8E27-A4382959B2DF}"/>
    <dgm:cxn modelId="{073EB47E-8C04-46E7-9EBF-39563A6F0F62}" type="presOf" srcId="{99D62DBB-8A86-43EC-A7EA-3E17C4C6D67A}" destId="{34CE4AD4-7546-412C-BD97-E75D4C4F3669}" srcOrd="0" destOrd="0" presId="urn:microsoft.com/office/officeart/2005/8/layout/cycle5"/>
    <dgm:cxn modelId="{4500E894-B4E5-413A-8BC8-472C6C3A5CAE}" type="presOf" srcId="{32220B04-AB27-48F3-8812-C0227D329B82}" destId="{AA5E6F97-4A87-4E9F-815D-24402B79BDDF}" srcOrd="0" destOrd="0" presId="urn:microsoft.com/office/officeart/2005/8/layout/cycle5"/>
    <dgm:cxn modelId="{AA597AAF-755C-4965-9ECF-D136F975C039}" type="presOf" srcId="{0C348EF1-89BC-4BA3-8E27-A4382959B2DF}" destId="{1C8ED868-21F4-4396-965B-023959D166CA}" srcOrd="0" destOrd="0" presId="urn:microsoft.com/office/officeart/2005/8/layout/cycle5"/>
    <dgm:cxn modelId="{69D830BF-1A5A-4E25-9451-A0D8891F2E27}" srcId="{15F0C9A0-6592-4856-8A45-F5A1FC8D591B}" destId="{AFE67635-D77E-4313-9EA6-8E0BEDB6F723}" srcOrd="0" destOrd="0" parTransId="{3ED4E8F8-F322-41C4-92D8-71F9AAE5DD89}" sibTransId="{32220B04-AB27-48F3-8812-C0227D329B82}"/>
    <dgm:cxn modelId="{DBFC86CC-1F0D-4875-B56E-8A77EE0F9DD6}" type="presOf" srcId="{15F0C9A0-6592-4856-8A45-F5A1FC8D591B}" destId="{A146CC5A-350F-49EE-B718-712D6DC0FC09}" srcOrd="0" destOrd="0" presId="urn:microsoft.com/office/officeart/2005/8/layout/cycle5"/>
    <dgm:cxn modelId="{43F480F4-BBF9-4867-B9F9-1FD9B7D41DDC}" type="presOf" srcId="{AFE67635-D77E-4313-9EA6-8E0BEDB6F723}" destId="{4F8455C1-9268-4B93-A116-8281EC7C15AE}" srcOrd="0" destOrd="0" presId="urn:microsoft.com/office/officeart/2005/8/layout/cycle5"/>
    <dgm:cxn modelId="{520D15E2-1707-4FA5-86FE-8C7BF3ECFB10}" type="presParOf" srcId="{A146CC5A-350F-49EE-B718-712D6DC0FC09}" destId="{4F8455C1-9268-4B93-A116-8281EC7C15AE}" srcOrd="0" destOrd="0" presId="urn:microsoft.com/office/officeart/2005/8/layout/cycle5"/>
    <dgm:cxn modelId="{D231644A-AB56-44B8-9154-3DE47A421CE7}" type="presParOf" srcId="{A146CC5A-350F-49EE-B718-712D6DC0FC09}" destId="{89F14686-6A98-428C-943E-ED43D04E4051}" srcOrd="1" destOrd="0" presId="urn:microsoft.com/office/officeart/2005/8/layout/cycle5"/>
    <dgm:cxn modelId="{38F261F6-EA84-43C1-B49B-A4CD249151D0}" type="presParOf" srcId="{A146CC5A-350F-49EE-B718-712D6DC0FC09}" destId="{AA5E6F97-4A87-4E9F-815D-24402B79BDDF}" srcOrd="2" destOrd="0" presId="urn:microsoft.com/office/officeart/2005/8/layout/cycle5"/>
    <dgm:cxn modelId="{517DBDF3-AD95-4C14-BC76-3E4C82E599C9}" type="presParOf" srcId="{A146CC5A-350F-49EE-B718-712D6DC0FC09}" destId="{34CE4AD4-7546-412C-BD97-E75D4C4F3669}" srcOrd="3" destOrd="0" presId="urn:microsoft.com/office/officeart/2005/8/layout/cycle5"/>
    <dgm:cxn modelId="{3ED76906-9DC6-4B10-9081-FE9267E42CDE}" type="presParOf" srcId="{A146CC5A-350F-49EE-B718-712D6DC0FC09}" destId="{CE786157-30E6-4D3E-A9D5-8E93BDAC2F35}" srcOrd="4" destOrd="0" presId="urn:microsoft.com/office/officeart/2005/8/layout/cycle5"/>
    <dgm:cxn modelId="{B120F24E-78CB-4DE4-B889-6957B14F57A8}" type="presParOf" srcId="{A146CC5A-350F-49EE-B718-712D6DC0FC09}" destId="{1C8ED868-21F4-4396-965B-023959D166CA}" srcOrd="5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8455C1-9268-4B93-A116-8281EC7C15AE}">
      <dsp:nvSpPr>
        <dsp:cNvPr id="0" name=""/>
        <dsp:cNvSpPr/>
      </dsp:nvSpPr>
      <dsp:spPr>
        <a:xfrm>
          <a:off x="1354758" y="1148497"/>
          <a:ext cx="3309899" cy="21514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/>
            <a:t>NEEDS ASSESSMENT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/>
            <a:t>What data identified the problem? (Metrics)</a:t>
          </a:r>
        </a:p>
      </dsp:txBody>
      <dsp:txXfrm>
        <a:off x="1459782" y="1253521"/>
        <a:ext cx="3099851" cy="1941386"/>
      </dsp:txXfrm>
    </dsp:sp>
    <dsp:sp modelId="{AA5E6F97-4A87-4E9F-815D-24402B79BDDF}">
      <dsp:nvSpPr>
        <dsp:cNvPr id="0" name=""/>
        <dsp:cNvSpPr/>
      </dsp:nvSpPr>
      <dsp:spPr>
        <a:xfrm>
          <a:off x="3009707" y="398919"/>
          <a:ext cx="3650589" cy="3650589"/>
        </a:xfrm>
        <a:custGeom>
          <a:avLst/>
          <a:gdLst/>
          <a:ahLst/>
          <a:cxnLst/>
          <a:rect l="0" t="0" r="0" b="0"/>
          <a:pathLst>
            <a:path>
              <a:moveTo>
                <a:pt x="768597" y="336976"/>
              </a:moveTo>
              <a:arcTo wR="1825294" hR="1825294" stAng="14077529" swAng="4244941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CE4AD4-7546-412C-BD97-E75D4C4F3669}">
      <dsp:nvSpPr>
        <dsp:cNvPr id="0" name=""/>
        <dsp:cNvSpPr/>
      </dsp:nvSpPr>
      <dsp:spPr>
        <a:xfrm>
          <a:off x="5005347" y="1148497"/>
          <a:ext cx="3309899" cy="21514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/>
            <a:t>METRICS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/>
            <a:t>How will we know if we made progress?</a:t>
          </a:r>
        </a:p>
      </dsp:txBody>
      <dsp:txXfrm>
        <a:off x="5110371" y="1253521"/>
        <a:ext cx="3099851" cy="1941386"/>
      </dsp:txXfrm>
    </dsp:sp>
    <dsp:sp modelId="{1C8ED868-21F4-4396-965B-023959D166CA}">
      <dsp:nvSpPr>
        <dsp:cNvPr id="0" name=""/>
        <dsp:cNvSpPr/>
      </dsp:nvSpPr>
      <dsp:spPr>
        <a:xfrm>
          <a:off x="3009707" y="398919"/>
          <a:ext cx="3650589" cy="3650589"/>
        </a:xfrm>
        <a:custGeom>
          <a:avLst/>
          <a:gdLst/>
          <a:ahLst/>
          <a:cxnLst/>
          <a:rect l="0" t="0" r="0" b="0"/>
          <a:pathLst>
            <a:path>
              <a:moveTo>
                <a:pt x="2881991" y="3313613"/>
              </a:moveTo>
              <a:arcTo wR="1825294" hR="1825294" stAng="3277529" swAng="4244941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3557E9-E18C-5BA3-0B64-10DAF0C98B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4BF729-5B35-EB5C-C8F7-7A7A67AABE1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67341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r">
              <a:defRPr sz="1200"/>
            </a:lvl1pPr>
          </a:lstStyle>
          <a:p>
            <a:fld id="{BE65B4E4-092C-41F6-9F50-BB02DFE6AB26}" type="datetimeFigureOut">
              <a:rPr lang="en-US" smtClean="0"/>
              <a:t>11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E470EB-233A-6456-F9C8-6602B6A7D89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7C252-D54D-EACD-C087-133718DC192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67341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r">
              <a:defRPr sz="1200"/>
            </a:lvl1pPr>
          </a:lstStyle>
          <a:p>
            <a:fld id="{F42E9776-04D6-4A52-9065-AC4B5B8D0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636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7341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r">
              <a:defRPr sz="1200"/>
            </a:lvl1pPr>
          </a:lstStyle>
          <a:p>
            <a:fld id="{4E870AFB-55BE-4999-A29E-3EA123A56C77}" type="datetimeFigureOut">
              <a:rPr lang="en-US" smtClean="0"/>
              <a:t>11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0463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04" tIns="46552" rIns="93104" bIns="4655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405" y="4470837"/>
            <a:ext cx="5603240" cy="3657957"/>
          </a:xfrm>
          <a:prstGeom prst="rect">
            <a:avLst/>
          </a:prstGeom>
        </p:spPr>
        <p:txBody>
          <a:bodyPr vert="horz" lIns="93104" tIns="46552" rIns="93104" bIns="4655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7341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r">
              <a:defRPr sz="1200"/>
            </a:lvl1pPr>
          </a:lstStyle>
          <a:p>
            <a:fld id="{E2E3A71E-16A1-4385-8661-66B70B939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821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A4C877-5BD7-4CD3-B6C4-27BAD32AB6B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931042">
              <a:defRPr/>
            </a:pPr>
            <a:r>
              <a:rPr lang="en-US" altLang="zh-CN">
                <a:solidFill>
                  <a:prstClr val="black"/>
                </a:solidFill>
                <a:latin typeface="Aptos" panose="02110004020202020204"/>
                <a:ea typeface="等线" panose="02010600030101010101" pitchFamily="2" charset="-122"/>
              </a:rPr>
              <a:t>November 1, 2019</a:t>
            </a:r>
            <a:endParaRPr lang="zh-CN" altLang="en-US">
              <a:solidFill>
                <a:prstClr val="black"/>
              </a:solidFill>
              <a:latin typeface="Aptos" panose="02110004020202020204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562201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E3A71E-16A1-4385-8661-66B70B9392E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8112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E3A71E-16A1-4385-8661-66B70B9392E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5305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732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D603F3-A9CC-416A-9684-068743EDAB6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8478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E3A71E-16A1-4385-8661-66B70B9392E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9963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E3A71E-16A1-4385-8661-66B70B9392E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319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E3A71E-16A1-4385-8661-66B70B9392E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3045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D4D96E-D917-A918-9FE3-7DCC369587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E8DF48-8E10-E426-5C7E-F734A3BA66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9C33C3-78D9-2E72-8C63-358BBD6938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662A4F-F38A-4524-24BB-338E6AB0B1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980DC9-1B81-4B62-A623-434B4B8D97B0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654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E3A71E-16A1-4385-8661-66B70B9392E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2833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980DC9-1B81-4B62-A623-434B4B8D97B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7112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980DC9-1B81-4B62-A623-434B4B8D97B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739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E3A71E-16A1-4385-8661-66B70B9392E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8569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62250E-9AB5-3280-0097-699667C26F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EAC66-74FC-7FC0-FF71-9F74EB9099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5C8017-30ED-FB61-C22B-657BBBDCD5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36D5E6-74DD-E1F3-AE70-B96422CE8D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E3A71E-16A1-4385-8661-66B70B9392E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3713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ECA061-C4F8-4153-6D85-29BE3AED16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DDB3F4-A816-7B5B-3CDC-07F405C904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D1A39-D614-01DB-A7D3-E266D4B734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211AD6-FB26-CA44-7402-7479D48584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1DCF0-DFA0-4B54-9E14-2AD50CA2A58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3279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980DC9-1B81-4B62-A623-434B4B8D97B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8642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980DC9-1B81-4B62-A623-434B4B8D97B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115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fog, screenshot, blur&#10;&#10;Description automatically generated">
            <a:extLst>
              <a:ext uri="{FF2B5EF4-FFF2-40B4-BE49-F238E27FC236}">
                <a16:creationId xmlns:a16="http://schemas.microsoft.com/office/drawing/2014/main" id="{73A13FDB-6B12-D57B-937C-FDCC340F7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1998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A9C25D-EF20-84AD-D14D-2061BB41F0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5838" y="690351"/>
            <a:ext cx="8631677" cy="19282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6600" b="1" i="0" spc="-3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pple Symbols" panose="02000000000000000000" pitchFamily="2" charset="-79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17F9B5-9E18-407C-4D11-7AC3882D70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838" y="4855099"/>
            <a:ext cx="6770451" cy="1391055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rgbClr val="3647B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27C03EFA-A152-4539-22F6-1D780DB54F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4033" y="6133786"/>
            <a:ext cx="2642822" cy="556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6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1233722"/>
            <a:ext cx="12192000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3822199"/>
            <a:ext cx="12192000" cy="124942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37866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9087591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33ABB-3A05-33B8-F248-A8217E1A8A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41433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D5A72-E2F7-0E3B-0DDA-8AEE476CFD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86984"/>
            <a:ext cx="10515600" cy="4052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8D37926-3C4B-41C8-EFDB-911300C24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0" spc="-15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863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0924193-02B9-9810-A50A-C323F20B00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6112"/>
            <a:ext cx="12192000" cy="6858000"/>
          </a:xfrm>
          <a:prstGeom prst="rect">
            <a:avLst/>
          </a:prstGeom>
        </p:spPr>
      </p:pic>
      <p:pic>
        <p:nvPicPr>
          <p:cNvPr id="7" name="Picture 6" descr="A picture containing fog, screenshot, blur&#10;&#10;Description automatically generated">
            <a:extLst>
              <a:ext uri="{FF2B5EF4-FFF2-40B4-BE49-F238E27FC236}">
                <a16:creationId xmlns:a16="http://schemas.microsoft.com/office/drawing/2014/main" id="{BD671DD8-DB66-3B92-A1B6-23D8B89C2A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7A35BE-2442-7C64-032F-EEC3B84E8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25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 spc="-15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D8DA3C-9A4F-10ED-C6D4-40AC09EDE5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3712387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A65D87-AFBC-843E-1CA6-0F0D9EB66B62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C97040BC-7CEF-FBD5-14E8-B96311C9FE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4033" y="6133786"/>
            <a:ext cx="2642822" cy="556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559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55C14D-8924-F22D-FF6C-1CEECDCEA3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19256"/>
            <a:ext cx="5181600" cy="4057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748EB7-DF60-9429-B7C4-F17C2FD195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19256"/>
            <a:ext cx="5181600" cy="4057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8">
            <a:extLst>
              <a:ext uri="{FF2B5EF4-FFF2-40B4-BE49-F238E27FC236}">
                <a16:creationId xmlns:a16="http://schemas.microsoft.com/office/drawing/2014/main" id="{09305E6D-E633-8F98-0EDC-7F3C0166D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pc="-15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38371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07D04F-CFDA-AB0A-0CB3-633767A38D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612" y="2109863"/>
            <a:ext cx="5157787" cy="6759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E417A7-92FA-2590-1532-B39F1253F8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861535"/>
            <a:ext cx="5157787" cy="33281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583ECC-3794-AE5F-27B5-A74B4DEC73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109863"/>
            <a:ext cx="5183188" cy="6759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4E5DA7-1D14-860C-86DA-E26B78A695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861535"/>
            <a:ext cx="5183188" cy="33281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AA033EDD-4130-6D25-944B-3C4E62F04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pc="-15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9699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AFE5DF1-48AB-E0EB-F43E-6ACA748DB7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picture containing text, screenshot, envelope, stationary&#10;&#10;Description automatically generated">
            <a:extLst>
              <a:ext uri="{FF2B5EF4-FFF2-40B4-BE49-F238E27FC236}">
                <a16:creationId xmlns:a16="http://schemas.microsoft.com/office/drawing/2014/main" id="{C1C0FFF0-5075-CF61-E3DA-7EA0ED407CC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5A7959-19EC-57EE-7E3C-D0AA505DB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82157"/>
            <a:ext cx="10515600" cy="10936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6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0BCF7B-22B6-6253-4D64-9AD634D23090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5453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F0BC1E5-8CCE-BA2E-FCAF-D803E35C5BB4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  <p:pic>
        <p:nvPicPr>
          <p:cNvPr id="5" name="Picture 4" descr="A picture containing fog, screenshot, blur&#10;&#10;Description automatically generated">
            <a:extLst>
              <a:ext uri="{FF2B5EF4-FFF2-40B4-BE49-F238E27FC236}">
                <a16:creationId xmlns:a16="http://schemas.microsoft.com/office/drawing/2014/main" id="{7439D200-687F-1A35-0FE3-6C8A88693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C54FC1CB-AE67-CB1C-35FD-36F5211323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4033" y="6133786"/>
            <a:ext cx="2642822" cy="556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380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, screenshot, envelope, stationary&#10;&#10;Description automatically generated">
            <a:extLst>
              <a:ext uri="{FF2B5EF4-FFF2-40B4-BE49-F238E27FC236}">
                <a16:creationId xmlns:a16="http://schemas.microsoft.com/office/drawing/2014/main" id="{C98BCF38-2DC6-B6A1-4F78-590B1BDDE2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0DFDD0-A0F2-83DC-8B7C-F0E019570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168" y="996950"/>
            <a:ext cx="3932237" cy="1600200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17D2E1-E1A8-E3A2-FBE0-B7BCE986DF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7E9988-0A31-7185-4BB3-3C4229E099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1169" y="2774373"/>
            <a:ext cx="3932237" cy="308667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D28B3D-8AA7-7411-73DB-702ACCECC369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245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, screenshot, envelope, stationary&#10;&#10;Description automatically generated">
            <a:extLst>
              <a:ext uri="{FF2B5EF4-FFF2-40B4-BE49-F238E27FC236}">
                <a16:creationId xmlns:a16="http://schemas.microsoft.com/office/drawing/2014/main" id="{342569E2-6A72-3DCA-A745-FF35C7E6ED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47FD8C-2415-7AF2-D9F7-2FD9A5E45B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75B6969-06CB-5136-72BE-7F36D6601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168" y="996950"/>
            <a:ext cx="3932237" cy="1600200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5190A3B-C978-9A37-3EC2-7DD786CF89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1169" y="2774373"/>
            <a:ext cx="3932237" cy="308667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551DB3-822F-D681-37C0-3180279A1079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3486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blue and white rectangle&#10;&#10;Description automatically generated with medium confidence">
            <a:extLst>
              <a:ext uri="{FF2B5EF4-FFF2-40B4-BE49-F238E27FC236}">
                <a16:creationId xmlns:a16="http://schemas.microsoft.com/office/drawing/2014/main" id="{798CE026-D2F3-C172-A33A-A1429F11C51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F07E45-5358-D826-413C-524778517A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089013"/>
            <a:ext cx="10515600" cy="4087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4B734709-A90C-544A-96B6-4BCE82CBB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00C52F-DC60-BE86-6751-7E45895AE1B5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854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-15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mailto:leif.jacobsen@mass.gov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9154" y="1714778"/>
            <a:ext cx="6678954" cy="2450031"/>
          </a:xfrm>
        </p:spPr>
        <p:txBody>
          <a:bodyPr>
            <a:normAutofit fontScale="90000"/>
          </a:bodyPr>
          <a:lstStyle/>
          <a:p>
            <a:pPr>
              <a:spcAft>
                <a:spcPts val="2400"/>
              </a:spcAft>
            </a:pPr>
            <a:r>
              <a:rPr lang="en-US" dirty="0"/>
              <a:t>Program Evaluation</a:t>
            </a:r>
            <a:br>
              <a:rPr lang="en-US" dirty="0"/>
            </a:br>
            <a:r>
              <a:rPr lang="en-US" sz="4900" dirty="0"/>
              <a:t>Webin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0472" y="4533561"/>
            <a:ext cx="6659592" cy="82621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altLang="zh-CN" dirty="0">
                <a:solidFill>
                  <a:schemeClr val="tx1">
                    <a:lumMod val="50000"/>
                  </a:schemeClr>
                </a:solidFill>
                <a:ea typeface="等线"/>
              </a:rPr>
              <a:t> November 18</a:t>
            </a:r>
            <a:r>
              <a:rPr lang="en-US" altLang="zh-CN" baseline="30000" dirty="0">
                <a:solidFill>
                  <a:schemeClr val="tx1">
                    <a:lumMod val="50000"/>
                  </a:schemeClr>
                </a:solidFill>
                <a:ea typeface="等线"/>
              </a:rPr>
              <a:t>th</a:t>
            </a:r>
            <a:r>
              <a:rPr lang="en-US" altLang="zh-CN" dirty="0">
                <a:solidFill>
                  <a:schemeClr val="tx1">
                    <a:lumMod val="50000"/>
                  </a:schemeClr>
                </a:solidFill>
                <a:ea typeface="等线"/>
              </a:rPr>
              <a:t>, 2025</a:t>
            </a:r>
          </a:p>
        </p:txBody>
      </p:sp>
    </p:spTree>
    <p:extLst>
      <p:ext uri="{BB962C8B-B14F-4D97-AF65-F5344CB8AC3E}">
        <p14:creationId xmlns:p14="http://schemas.microsoft.com/office/powerpoint/2010/main" val="3468117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7456E6-CCD5-E860-95A7-C91CC8599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ere’s what I’m going to talk about with my tim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2052508-E7CE-BCD0-BE43-443C2FD842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AutoNum type="arabicParenR"/>
            </a:pPr>
            <a:r>
              <a:rPr lang="en-US" sz="4000"/>
              <a:t>Aligning programming, goals, and metrics</a:t>
            </a:r>
          </a:p>
          <a:p>
            <a:pPr marL="514350" indent="-514350">
              <a:buAutoNum type="arabicParenR"/>
            </a:pPr>
            <a:r>
              <a:rPr lang="en-US" sz="4000"/>
              <a:t>Planning data collection and analysis</a:t>
            </a: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3021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65BE15-9811-3910-4D94-2745AAF33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Aligning programming, goals, and metric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65B5651-B9CE-9392-6002-F6F6E2A13B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4000"/>
              <a:t>How do we align programming, goals, and metrics?</a:t>
            </a:r>
          </a:p>
          <a:p>
            <a:r>
              <a:rPr lang="en-US" sz="4000"/>
              <a:t>What’s essential for a good theory of action?</a:t>
            </a:r>
          </a:p>
          <a:p>
            <a:r>
              <a:rPr lang="en-US" sz="4000"/>
              <a:t>Our Title I funds lots of different things. How do we identify our goals?</a:t>
            </a:r>
          </a:p>
          <a:p>
            <a:r>
              <a:rPr lang="en-US" sz="4000"/>
              <a:t>What makes a good metric?</a:t>
            </a:r>
          </a:p>
        </p:txBody>
      </p:sp>
    </p:spTree>
    <p:extLst>
      <p:ext uri="{BB962C8B-B14F-4D97-AF65-F5344CB8AC3E}">
        <p14:creationId xmlns:p14="http://schemas.microsoft.com/office/powerpoint/2010/main" val="34177987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062417-5BDC-8F19-E2D5-8B1C32D27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E0BB0-A961-3D1F-579E-58EF0B3CB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ow do we align program activities, goals, and metrics?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595D600-FCF3-AC6F-E8A8-19F875C1CB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856476"/>
            <a:ext cx="10515600" cy="4452675"/>
          </a:xfrm>
        </p:spPr>
        <p:txBody>
          <a:bodyPr>
            <a:normAutofit/>
          </a:bodyPr>
          <a:lstStyle/>
          <a:p>
            <a:r>
              <a:rPr lang="en-US" sz="3200"/>
              <a:t>Why you’re going where you’re going </a:t>
            </a:r>
            <a:r>
              <a:rPr lang="en-US" sz="3200" i="1"/>
              <a:t>(Needs Assessment)</a:t>
            </a:r>
          </a:p>
          <a:p>
            <a:r>
              <a:rPr lang="en-US" sz="3200"/>
              <a:t>Where you’re going </a:t>
            </a:r>
            <a:r>
              <a:rPr lang="en-US" sz="3200" i="1"/>
              <a:t>(Goal)</a:t>
            </a:r>
          </a:p>
          <a:p>
            <a:r>
              <a:rPr lang="en-US" sz="3200"/>
              <a:t>How you’re going to get there </a:t>
            </a:r>
            <a:r>
              <a:rPr lang="en-US" sz="3200" i="1"/>
              <a:t>(Program activities)</a:t>
            </a:r>
          </a:p>
          <a:p>
            <a:r>
              <a:rPr lang="en-US" sz="3200"/>
              <a:t>How you’re going to know if you made progress and what needs to be improved </a:t>
            </a:r>
            <a:r>
              <a:rPr lang="en-US" sz="3200" i="1"/>
              <a:t>(Metric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224B1A-1605-BDEE-06D2-F871516305F4}"/>
              </a:ext>
            </a:extLst>
          </p:cNvPr>
          <p:cNvSpPr txBox="1"/>
          <p:nvPr/>
        </p:nvSpPr>
        <p:spPr>
          <a:xfrm>
            <a:off x="1092843" y="1810036"/>
            <a:ext cx="9028562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/>
              <a:t> </a:t>
            </a:r>
            <a:r>
              <a:rPr lang="en-US" sz="4000" b="1"/>
              <a:t>Theory of action ties everything togeth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3686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A820FE4-1F80-4D5A-935D-633AC53EF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What’s essential for a good theory of action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21A6B07-9803-B7AE-B5E7-2193564DAE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4000"/>
              <a:t>Enough explicit detail</a:t>
            </a:r>
          </a:p>
          <a:p>
            <a:r>
              <a:rPr lang="en-US" sz="4000"/>
              <a:t>Well articulated cause and effect: why/how program activities will get us where we want to go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0136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27D4A2-0E5B-77B8-F268-24EBC486FA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5964D0-40C1-CB2B-9D48-006652A4FD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xplicit Detail</a:t>
            </a:r>
            <a:br>
              <a:rPr lang="en-US" dirty="0"/>
            </a:br>
            <a:endParaRPr lang="en-US" dirty="0"/>
          </a:p>
        </p:txBody>
      </p:sp>
      <p:sp>
        <p:nvSpPr>
          <p:cNvPr id="4" name="Arrow: Right 3" descr="Arrow">
            <a:extLst>
              <a:ext uri="{FF2B5EF4-FFF2-40B4-BE49-F238E27FC236}">
                <a16:creationId xmlns:a16="http://schemas.microsoft.com/office/drawing/2014/main" id="{145F2104-39EC-2FC1-FDC6-2736B8CC8A7D}"/>
              </a:ext>
            </a:extLst>
          </p:cNvPr>
          <p:cNvSpPr/>
          <p:nvPr/>
        </p:nvSpPr>
        <p:spPr>
          <a:xfrm>
            <a:off x="215900" y="1947452"/>
            <a:ext cx="11899900" cy="707572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											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789388-975F-D81A-F2B7-1BFE23C00D37}"/>
              </a:ext>
            </a:extLst>
          </p:cNvPr>
          <p:cNvSpPr txBox="1"/>
          <p:nvPr/>
        </p:nvSpPr>
        <p:spPr>
          <a:xfrm>
            <a:off x="152378" y="2871332"/>
            <a:ext cx="1649592" cy="230832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IF: … We provide Literacy Coaching </a:t>
            </a:r>
          </a:p>
          <a:p>
            <a:r>
              <a:rPr lang="en-US" sz="2400">
                <a:solidFill>
                  <a:schemeClr val="bg1"/>
                </a:solidFill>
              </a:rPr>
              <a:t>and train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C08470-3A33-5F06-FF78-77DBE81A1942}"/>
              </a:ext>
            </a:extLst>
          </p:cNvPr>
          <p:cNvSpPr txBox="1"/>
          <p:nvPr/>
        </p:nvSpPr>
        <p:spPr>
          <a:xfrm>
            <a:off x="1979581" y="2350790"/>
            <a:ext cx="3234204" cy="42780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r>
              <a:rPr lang="en-US" sz="2800"/>
              <a:t>Where the work happens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AD0348-92A9-FCA5-E5CB-C5CF45544283}"/>
              </a:ext>
            </a:extLst>
          </p:cNvPr>
          <p:cNvSpPr txBox="1"/>
          <p:nvPr/>
        </p:nvSpPr>
        <p:spPr>
          <a:xfrm>
            <a:off x="5391396" y="2967335"/>
            <a:ext cx="1541839" cy="156966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THEN … Classroom instruction </a:t>
            </a:r>
          </a:p>
          <a:p>
            <a:r>
              <a:rPr lang="en-US" sz="2400">
                <a:solidFill>
                  <a:schemeClr val="bg1"/>
                </a:solidFill>
              </a:rPr>
              <a:t>chang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5DF989-48F7-8A54-2CD0-B60D6065488A}"/>
              </a:ext>
            </a:extLst>
          </p:cNvPr>
          <p:cNvSpPr txBox="1"/>
          <p:nvPr/>
        </p:nvSpPr>
        <p:spPr>
          <a:xfrm>
            <a:off x="7110846" y="2350791"/>
            <a:ext cx="3377322" cy="42780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r>
              <a:rPr lang="en-US" sz="2800"/>
              <a:t>Where the work </a:t>
            </a:r>
          </a:p>
          <a:p>
            <a:pPr algn="ctr"/>
            <a:r>
              <a:rPr lang="en-US" sz="2800"/>
              <a:t>happens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D1476C-5B78-079F-38E9-C9778D8AB9F6}"/>
              </a:ext>
            </a:extLst>
          </p:cNvPr>
          <p:cNvSpPr txBox="1"/>
          <p:nvPr/>
        </p:nvSpPr>
        <p:spPr>
          <a:xfrm>
            <a:off x="10792090" y="2853434"/>
            <a:ext cx="1247531" cy="230832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SO THAT … student MCAS scores improv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ABCA6AC-DEE2-E90A-2953-E3D2397641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946400" y="2853434"/>
            <a:ext cx="1985818" cy="3224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8573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0387F9-778E-41DD-1C23-B09345CCF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licit Detail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44E9117-9A2D-2FDE-5400-E0E5AC9CA006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2497201"/>
          <a:ext cx="2854137" cy="24874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4137">
                  <a:extLst>
                    <a:ext uri="{9D8B030D-6E8A-4147-A177-3AD203B41FA5}">
                      <a16:colId xmlns:a16="http://schemas.microsoft.com/office/drawing/2014/main" val="3896164331"/>
                    </a:ext>
                  </a:extLst>
                </a:gridCol>
              </a:tblGrid>
              <a:tr h="38426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Original “General” Key Actions</a:t>
                      </a:r>
                      <a:endParaRPr lang="en-US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6807467"/>
                  </a:ext>
                </a:extLst>
              </a:tr>
              <a:tr h="1847382">
                <a:tc>
                  <a:txBody>
                    <a:bodyPr/>
                    <a:lstStyle/>
                    <a:p>
                      <a:r>
                        <a:rPr lang="en-US"/>
                        <a:t>DESE improves support to districts to conduct program evaluations and provides additional targeted assistance on program evaluation to district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7956378"/>
                  </a:ext>
                </a:extLst>
              </a:tr>
            </a:tbl>
          </a:graphicData>
        </a:graphic>
      </p:graphicFrame>
      <p:sp>
        <p:nvSpPr>
          <p:cNvPr id="4" name="Arrow: Right 3" descr="Arrow">
            <a:extLst>
              <a:ext uri="{FF2B5EF4-FFF2-40B4-BE49-F238E27FC236}">
                <a16:creationId xmlns:a16="http://schemas.microsoft.com/office/drawing/2014/main" id="{75AB38C6-7548-53F8-2D14-64E044B9E7AF}"/>
              </a:ext>
            </a:extLst>
          </p:cNvPr>
          <p:cNvSpPr/>
          <p:nvPr/>
        </p:nvSpPr>
        <p:spPr>
          <a:xfrm>
            <a:off x="4087091" y="3851564"/>
            <a:ext cx="955964" cy="51261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E831601-94A4-2697-0237-5AEE256D5B26}"/>
              </a:ext>
            </a:extLst>
          </p:cNvPr>
          <p:cNvGraphicFramePr>
            <a:graphicFrameLocks noGrp="1"/>
          </p:cNvGraphicFramePr>
          <p:nvPr/>
        </p:nvGraphicFramePr>
        <p:xfrm>
          <a:off x="5535645" y="1823727"/>
          <a:ext cx="5637764" cy="40556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37764">
                  <a:extLst>
                    <a:ext uri="{9D8B030D-6E8A-4147-A177-3AD203B41FA5}">
                      <a16:colId xmlns:a16="http://schemas.microsoft.com/office/drawing/2014/main" val="1601992502"/>
                    </a:ext>
                  </a:extLst>
                </a:gridCol>
              </a:tblGrid>
              <a:tr h="398074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xplicit Key Ac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9721991"/>
                  </a:ext>
                </a:extLst>
              </a:tr>
              <a:tr h="2748345">
                <a:tc>
                  <a:txBody>
                    <a:bodyPr/>
                    <a:lstStyle/>
                    <a:p>
                      <a:pPr marL="342900" indent="-342900">
                        <a:buAutoNum type="arabicParenR"/>
                      </a:pPr>
                      <a:r>
                        <a:rPr lang="en-US"/>
                        <a:t>We create evaluation supports: a workbook that explains a step-by-step approach to evaluation and we provide and recorded webinars ; </a:t>
                      </a:r>
                      <a:r>
                        <a:rPr lang="en-US" b="1">
                          <a:solidFill>
                            <a:srgbClr val="FF0000"/>
                          </a:solidFill>
                        </a:rPr>
                        <a:t>AND</a:t>
                      </a:r>
                    </a:p>
                    <a:p>
                      <a:pPr marL="342900" indent="-342900">
                        <a:buAutoNum type="arabicParenR"/>
                      </a:pPr>
                      <a:r>
                        <a:rPr lang="en-US"/>
                        <a:t>We get feedback from districts to improve the workbook and the webinars; </a:t>
                      </a:r>
                      <a:r>
                        <a:rPr lang="en-US" b="1">
                          <a:solidFill>
                            <a:srgbClr val="FF0000"/>
                          </a:solidFill>
                        </a:rPr>
                        <a:t>AND</a:t>
                      </a:r>
                    </a:p>
                    <a:p>
                      <a:pPr marL="342900" indent="-342900">
                        <a:buAutoNum type="arabicParenR"/>
                      </a:pPr>
                      <a:r>
                        <a:rPr lang="en-US"/>
                        <a:t>We work with volunteer districts to provide them with targeted support and get their feedback on the workbook and webinars; </a:t>
                      </a:r>
                      <a:r>
                        <a:rPr lang="en-US" b="1">
                          <a:solidFill>
                            <a:srgbClr val="FF0000"/>
                          </a:solidFill>
                        </a:rPr>
                        <a:t>AND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lang="en-US"/>
                        <a:t>We revise the workbook to address feedback; </a:t>
                      </a:r>
                      <a:r>
                        <a:rPr lang="en-US" b="1">
                          <a:solidFill>
                            <a:srgbClr val="FF0000"/>
                          </a:solidFill>
                        </a:rPr>
                        <a:t>AND</a:t>
                      </a:r>
                    </a:p>
                    <a:p>
                      <a:pPr marL="342900" indent="-342900">
                        <a:buAutoNum type="arabicParenR"/>
                      </a:pPr>
                      <a:r>
                        <a:rPr lang="en-US"/>
                        <a:t>We revise existing/provide new webinars to address feedback; </a:t>
                      </a:r>
                      <a:r>
                        <a:rPr lang="en-US" b="1">
                          <a:solidFill>
                            <a:srgbClr val="FF0000"/>
                          </a:solidFill>
                        </a:rPr>
                        <a:t>AND</a:t>
                      </a:r>
                    </a:p>
                    <a:p>
                      <a:pPr marL="342900" indent="-342900">
                        <a:buAutoNum type="arabicParenR"/>
                      </a:pPr>
                      <a:r>
                        <a:rPr lang="en-US" b="0">
                          <a:solidFill>
                            <a:schemeClr val="tx1"/>
                          </a:solidFill>
                        </a:rPr>
                        <a:t>We get more feedback to improve the workbook and the webinars and ideas for new supports </a:t>
                      </a:r>
                      <a:r>
                        <a:rPr lang="en-US" b="1">
                          <a:solidFill>
                            <a:srgbClr val="FF0000"/>
                          </a:solidFill>
                        </a:rPr>
                        <a:t>AND SO 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63682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76200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CE5618-D447-2383-BF56-425908E844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use and Effect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A13CEB-C2E7-2C9C-12EC-8FA89C0A8CD3}"/>
              </a:ext>
            </a:extLst>
          </p:cNvPr>
          <p:cNvSpPr txBox="1"/>
          <p:nvPr/>
        </p:nvSpPr>
        <p:spPr>
          <a:xfrm>
            <a:off x="233423" y="1759115"/>
            <a:ext cx="11725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rgbClr val="FF0000"/>
                </a:solidFill>
              </a:rPr>
              <a:t>What changes? Why do we think this will help get to the long-term outcome?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E93593B-1D40-2501-B36C-A195A8F5C6AA}"/>
              </a:ext>
            </a:extLst>
          </p:cNvPr>
          <p:cNvGraphicFramePr>
            <a:graphicFrameLocks noGrp="1"/>
          </p:cNvGraphicFramePr>
          <p:nvPr/>
        </p:nvGraphicFramePr>
        <p:xfrm>
          <a:off x="566928" y="2457903"/>
          <a:ext cx="10655560" cy="34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3782">
                  <a:extLst>
                    <a:ext uri="{9D8B030D-6E8A-4147-A177-3AD203B41FA5}">
                      <a16:colId xmlns:a16="http://schemas.microsoft.com/office/drawing/2014/main" val="2248254576"/>
                    </a:ext>
                  </a:extLst>
                </a:gridCol>
                <a:gridCol w="8791778">
                  <a:extLst>
                    <a:ext uri="{9D8B030D-6E8A-4147-A177-3AD203B41FA5}">
                      <a16:colId xmlns:a16="http://schemas.microsoft.com/office/drawing/2014/main" val="3464853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chemeClr val="tx1"/>
                          </a:solidFill>
                        </a:rPr>
                        <a:t>What changes?</a:t>
                      </a:r>
                    </a:p>
                  </a:txBody>
                  <a:tcPr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400" b="0">
                          <a:solidFill>
                            <a:schemeClr val="tx1"/>
                          </a:solidFill>
                        </a:rPr>
                        <a:t>Districts have access to written resources that provide a step-by-step how to conduct a federal grants evaluation that’s aligned to federal requirement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400" b="0">
                          <a:solidFill>
                            <a:schemeClr val="tx1"/>
                          </a:solidFill>
                        </a:rPr>
                        <a:t>The workbook includes a checklist and examples of what each step looks like when it’s completed.</a:t>
                      </a:r>
                    </a:p>
                  </a:txBody>
                  <a:tcPr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2797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/>
                        <a:t>Why does it lead to the outcom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400"/>
                        <a:t>These new resources fill a gap in the supports that have been available to district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400"/>
                        <a:t>These new resources provide more detailed information and instructions that were previously not available.</a:t>
                      </a:r>
                    </a:p>
                  </a:txBody>
                  <a:tcPr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76683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3B60144-571B-83B7-2F7E-D40F3E195D54}"/>
              </a:ext>
            </a:extLst>
          </p:cNvPr>
          <p:cNvSpPr txBox="1"/>
          <p:nvPr/>
        </p:nvSpPr>
        <p:spPr>
          <a:xfrm>
            <a:off x="566928" y="6108192"/>
            <a:ext cx="97749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Page 6 of the Workbook</a:t>
            </a:r>
          </a:p>
        </p:txBody>
      </p:sp>
    </p:spTree>
    <p:extLst>
      <p:ext uri="{BB962C8B-B14F-4D97-AF65-F5344CB8AC3E}">
        <p14:creationId xmlns:p14="http://schemas.microsoft.com/office/powerpoint/2010/main" val="39211619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26480-7839-585A-7008-4FD3CCF379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753A9C-2C36-3F9B-16F3-AC6CC9A81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Our Title I funds lots of different things. How do we identify our goals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952702F-042A-DAD6-741A-60BB8AE0C7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171" y="1620456"/>
            <a:ext cx="11736729" cy="4745620"/>
          </a:xfrm>
        </p:spPr>
        <p:txBody>
          <a:bodyPr/>
          <a:lstStyle/>
          <a:p>
            <a:r>
              <a:rPr lang="en-US" sz="3600"/>
              <a:t>Federal law mandates that Title grant funded programs/activities are evaluated annually.</a:t>
            </a:r>
          </a:p>
          <a:p>
            <a:r>
              <a:rPr lang="en-US" sz="3600"/>
              <a:t>Answer these questions about each of the funded programs/activities:</a:t>
            </a:r>
          </a:p>
          <a:p>
            <a:pPr lvl="1"/>
            <a:r>
              <a:rPr lang="en-US" sz="3200"/>
              <a:t>Why you’re going where you’re going (Needs Assessment):</a:t>
            </a:r>
          </a:p>
          <a:p>
            <a:pPr lvl="1"/>
            <a:r>
              <a:rPr lang="en-US" sz="3200"/>
              <a:t>Where you’re going (Goal)</a:t>
            </a:r>
          </a:p>
          <a:p>
            <a:pPr lvl="1"/>
            <a:r>
              <a:rPr lang="en-US" sz="3200"/>
              <a:t>How you’re going to get there (Program activities)</a:t>
            </a:r>
          </a:p>
          <a:p>
            <a:pPr lvl="1"/>
            <a:r>
              <a:rPr lang="en-US" sz="3200"/>
              <a:t>How you’re going to know if you made progress and what needs to be improved (Metrics)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7859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DCE1912-66FA-7826-80B4-263045F46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What makes a good metric?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E2FE3D0-D079-5E47-95A3-A9B20CFF6E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24628"/>
            <a:ext cx="10515600" cy="4414915"/>
          </a:xfrm>
        </p:spPr>
        <p:txBody>
          <a:bodyPr>
            <a:normAutofit lnSpcReduction="10000"/>
          </a:bodyPr>
          <a:lstStyle/>
          <a:p>
            <a:r>
              <a:rPr lang="en-US" sz="3600"/>
              <a:t> A good metric aligns with your identified needs and goals. </a:t>
            </a:r>
          </a:p>
          <a:p>
            <a:pPr lvl="1"/>
            <a:r>
              <a:rPr lang="en-US" sz="3200"/>
              <a:t>For example don’t use DIBELS or MCAS data to measure family engagement wouldn’t make sense.</a:t>
            </a:r>
          </a:p>
          <a:p>
            <a:r>
              <a:rPr lang="en-US" sz="3600"/>
              <a:t>A good metric answers the following questions:</a:t>
            </a:r>
          </a:p>
          <a:p>
            <a:pPr lvl="1"/>
            <a:r>
              <a:rPr lang="en-US" sz="3200"/>
              <a:t>Is our program is making progress toward or meeting our goals? In what ways?</a:t>
            </a:r>
          </a:p>
          <a:p>
            <a:pPr lvl="1"/>
            <a:r>
              <a:rPr lang="en-US" sz="3200"/>
              <a:t>What’s working well?</a:t>
            </a:r>
          </a:p>
          <a:p>
            <a:pPr lvl="1"/>
            <a:r>
              <a:rPr lang="en-US" sz="3200"/>
              <a:t>What do we need to improve?</a:t>
            </a:r>
          </a:p>
          <a:p>
            <a:pPr marL="0" indent="0">
              <a:buNone/>
            </a:pPr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5953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10D32AB-DE28-FEF2-886E-39C01EA08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makes a good metric?  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25F0D2-27B8-1E72-B0AF-4991A28F53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47777"/>
            <a:ext cx="10515600" cy="4560425"/>
          </a:xfrm>
        </p:spPr>
        <p:txBody>
          <a:bodyPr/>
          <a:lstStyle/>
          <a:p>
            <a:r>
              <a:rPr lang="en-US" sz="3600"/>
              <a:t>Answers your questions.</a:t>
            </a:r>
          </a:p>
          <a:p>
            <a:r>
              <a:rPr lang="en-US" sz="3600"/>
              <a:t>Collecting family attendance at events does not help you know:</a:t>
            </a:r>
          </a:p>
          <a:p>
            <a:pPr lvl="1"/>
            <a:r>
              <a:rPr lang="en-US" sz="3200"/>
              <a:t>Whether home-school communication about a child’s academic or other issues is working well?</a:t>
            </a:r>
          </a:p>
          <a:p>
            <a:pPr lvl="1"/>
            <a:r>
              <a:rPr lang="en-US" sz="3200"/>
              <a:t>Whether parents understand and engage in activities at home to help and encourage schoolwork?</a:t>
            </a:r>
          </a:p>
          <a:p>
            <a:pPr lvl="1"/>
            <a:r>
              <a:rPr lang="en-US" sz="3200"/>
              <a:t>Whether families understand and support the Title services their child is eligible to receive?</a:t>
            </a:r>
          </a:p>
        </p:txBody>
      </p:sp>
    </p:spTree>
    <p:extLst>
      <p:ext uri="{BB962C8B-B14F-4D97-AF65-F5344CB8AC3E}">
        <p14:creationId xmlns:p14="http://schemas.microsoft.com/office/powerpoint/2010/main" val="31884047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Segoe UI Semibold"/>
                <a:cs typeface="Segoe UI Semibold"/>
              </a:rPr>
              <a:t>Introduc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7229C-EC7B-4063-A33B-28A5E87E32E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086984"/>
            <a:ext cx="5880100" cy="405255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buFont typeface="Arial"/>
              <a:buChar char="•"/>
              <a:tabLst>
                <a:tab pos="2286000" algn="l"/>
              </a:tabLst>
            </a:pPr>
            <a:r>
              <a:rPr lang="en-US">
                <a:latin typeface="Arial"/>
                <a:cs typeface="Arial"/>
              </a:rPr>
              <a:t>Leif Jacobsen</a:t>
            </a:r>
          </a:p>
          <a:p>
            <a:pPr marL="0" indent="0" algn="just">
              <a:lnSpc>
                <a:spcPct val="100000"/>
              </a:lnSpc>
              <a:buNone/>
              <a:tabLst>
                <a:tab pos="2286000" algn="l"/>
              </a:tabLst>
            </a:pPr>
            <a:r>
              <a:rPr lang="en-US">
                <a:latin typeface="Arial"/>
                <a:cs typeface="Arial"/>
              </a:rPr>
              <a:t> </a:t>
            </a:r>
            <a:r>
              <a:rPr lang="en-US" sz="2200">
                <a:latin typeface="Arial"/>
                <a:cs typeface="Arial"/>
              </a:rPr>
              <a:t>DESE, Federal Programs Team</a:t>
            </a:r>
          </a:p>
          <a:p>
            <a:pPr>
              <a:lnSpc>
                <a:spcPct val="100000"/>
              </a:lnSpc>
              <a:buFont typeface="Arial"/>
              <a:buChar char="•"/>
              <a:tabLst>
                <a:tab pos="2286000" algn="l"/>
              </a:tabLst>
            </a:pPr>
            <a:endParaRPr lang="en-US">
              <a:latin typeface="Arial"/>
              <a:cs typeface="Arial"/>
            </a:endParaRPr>
          </a:p>
          <a:p>
            <a:pPr>
              <a:lnSpc>
                <a:spcPct val="100000"/>
              </a:lnSpc>
              <a:buFont typeface="Arial"/>
              <a:buChar char="•"/>
              <a:tabLst>
                <a:tab pos="2286000" algn="l"/>
              </a:tabLst>
            </a:pPr>
            <a:r>
              <a:rPr lang="en-US">
                <a:latin typeface="Arial"/>
                <a:cs typeface="Arial"/>
              </a:rPr>
              <a:t>Kendra Winner</a:t>
            </a:r>
            <a:endParaRPr lang="en-US"/>
          </a:p>
          <a:p>
            <a:pPr marL="0" indent="0" algn="just">
              <a:lnSpc>
                <a:spcPct val="100000"/>
              </a:lnSpc>
              <a:buNone/>
              <a:tabLst>
                <a:tab pos="2286000" algn="l"/>
              </a:tabLst>
            </a:pPr>
            <a:r>
              <a:rPr lang="en-US">
                <a:latin typeface="Arial"/>
                <a:cs typeface="Arial"/>
              </a:rPr>
              <a:t> </a:t>
            </a:r>
            <a:r>
              <a:rPr lang="en-US" sz="2200">
                <a:latin typeface="Arial"/>
                <a:cs typeface="Arial"/>
              </a:rPr>
              <a:t>DESE, Research and Evaluation Coordinator</a:t>
            </a:r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39567021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346716F-E1D1-5C5B-7756-1FB0C8EB6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7770256"/>
              </p:ext>
            </p:extLst>
          </p:nvPr>
        </p:nvGraphicFramePr>
        <p:xfrm>
          <a:off x="1152323" y="2409571"/>
          <a:ext cx="9670005" cy="4448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8192CB-920F-D4DA-CACD-EFF1C8DF5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makes a good metric?  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2F442A-1143-2FE6-E620-D59A9A7BA6DA}"/>
              </a:ext>
            </a:extLst>
          </p:cNvPr>
          <p:cNvSpPr txBox="1"/>
          <p:nvPr/>
        </p:nvSpPr>
        <p:spPr>
          <a:xfrm>
            <a:off x="350454" y="1608880"/>
            <a:ext cx="112737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/>
              <a:t>The data you used to identify the problem could be the same as the data you use to track progress, etc.</a:t>
            </a:r>
          </a:p>
        </p:txBody>
      </p:sp>
    </p:spTree>
    <p:extLst>
      <p:ext uri="{BB962C8B-B14F-4D97-AF65-F5344CB8AC3E}">
        <p14:creationId xmlns:p14="http://schemas.microsoft.com/office/powerpoint/2010/main" val="34550921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CB578F-670A-8C31-00F1-C218B913C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Stop and Reflect: For all your Title Funded Programs/Activities …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B1E654E-A05F-4BF0-C573-A4037A448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516" y="1736204"/>
            <a:ext cx="11539960" cy="4595148"/>
          </a:xfrm>
        </p:spPr>
        <p:txBody>
          <a:bodyPr>
            <a:normAutofit/>
          </a:bodyPr>
          <a:lstStyle/>
          <a:p>
            <a:r>
              <a:rPr lang="en-US"/>
              <a:t>Has your team used data to identify a problem or need?</a:t>
            </a:r>
          </a:p>
          <a:p>
            <a:r>
              <a:rPr lang="en-US"/>
              <a:t>Has your team defined your goals? What part of the problem or need did you design your program to address?</a:t>
            </a:r>
          </a:p>
          <a:p>
            <a:r>
              <a:rPr lang="en-US"/>
              <a:t>Does everyone on your team understand </a:t>
            </a:r>
            <a:r>
              <a:rPr lang="en-US" b="1">
                <a:solidFill>
                  <a:srgbClr val="FF0000"/>
                </a:solidFill>
              </a:rPr>
              <a:t>how</a:t>
            </a:r>
            <a:r>
              <a:rPr lang="en-US"/>
              <a:t> your program activities and actions are going to address your problem or need(s)? Is your team’s theory of action detailed and explicit?</a:t>
            </a:r>
          </a:p>
          <a:p>
            <a:r>
              <a:rPr lang="en-US"/>
              <a:t>Is your metric aligned with your identified needs and goals? Will your metric indicate if you’re making progress toward/meeting your goals and what needs to be improved?</a:t>
            </a:r>
          </a:p>
        </p:txBody>
      </p:sp>
    </p:spTree>
    <p:extLst>
      <p:ext uri="{BB962C8B-B14F-4D97-AF65-F5344CB8AC3E}">
        <p14:creationId xmlns:p14="http://schemas.microsoft.com/office/powerpoint/2010/main" val="5236914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A3F92F3-E881-BEB0-EE90-955D72492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lanning data collection and analysi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BA0FF85-FFAE-9579-60EA-8759160F1B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2800"/>
              <a:t>What can we do on the front end to make data collection go smoothly?</a:t>
            </a:r>
          </a:p>
          <a:p>
            <a:pPr lvl="1"/>
            <a:r>
              <a:rPr lang="en-US" sz="2800"/>
              <a:t>What’s the best timeline for collecting data? What do we do if we’re starting late?</a:t>
            </a:r>
          </a:p>
          <a:p>
            <a:pPr lvl="1"/>
            <a:r>
              <a:rPr lang="en-US" sz="2800"/>
              <a:t>For targeted programs, do we compare students receiving services to those not?</a:t>
            </a:r>
          </a:p>
          <a:p>
            <a:pPr lvl="1"/>
            <a:r>
              <a:rPr lang="en-US" sz="2800"/>
              <a:t>For school-wide programs, how do we think about measuring growth if services touch the entire student body?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6085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39E73D-530A-8034-5F55-9513239ED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What can we do on the front end to make data collection go smoothly?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FD4FB75-9094-087D-54B7-E99661268D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36295"/>
            <a:ext cx="10515600" cy="4728409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Create a Data Collection Plan: page 8 of the workbook</a:t>
            </a:r>
          </a:p>
          <a:p>
            <a:pPr marL="514350" indent="-514350">
              <a:buAutoNum type="arabicParenR"/>
            </a:pPr>
            <a:r>
              <a:rPr lang="en-US"/>
              <a:t>Do it well in advance</a:t>
            </a:r>
          </a:p>
          <a:p>
            <a:pPr marL="514350" indent="-514350">
              <a:buAutoNum type="arabicParenR"/>
            </a:pPr>
            <a:r>
              <a:rPr lang="en-US"/>
              <a:t>Give yourself plenty of time</a:t>
            </a:r>
          </a:p>
          <a:p>
            <a:pPr marL="514350" indent="-514350">
              <a:buAutoNum type="arabicParenR"/>
            </a:pPr>
            <a:r>
              <a:rPr lang="en-US"/>
              <a:t>Put together the right team</a:t>
            </a:r>
          </a:p>
          <a:p>
            <a:pPr marL="514350" indent="-514350">
              <a:buAutoNum type="arabicParenR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7726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501A1D-B03F-B911-07A7-74BBA897D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What’s the best timeline for collecting data to measure growth?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4BDEB5F-2B0B-AAF8-C2D2-3A137E98D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As close to the beginning of the year as makes sense</a:t>
            </a:r>
          </a:p>
          <a:p>
            <a:r>
              <a:rPr lang="en-US"/>
              <a:t>As close to the end of the year as makes sense</a:t>
            </a:r>
          </a:p>
          <a:p>
            <a:r>
              <a:rPr lang="en-US"/>
              <a:t>Middle of the year depends on your program</a:t>
            </a:r>
          </a:p>
          <a:p>
            <a:pPr lvl="1"/>
            <a:r>
              <a:rPr lang="en-US"/>
              <a:t>Gut check</a:t>
            </a:r>
          </a:p>
          <a:p>
            <a:pPr lvl="1"/>
            <a:r>
              <a:rPr lang="en-US"/>
              <a:t>Course Correction </a:t>
            </a:r>
          </a:p>
        </p:txBody>
      </p:sp>
    </p:spTree>
    <p:extLst>
      <p:ext uri="{BB962C8B-B14F-4D97-AF65-F5344CB8AC3E}">
        <p14:creationId xmlns:p14="http://schemas.microsoft.com/office/powerpoint/2010/main" val="35253457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25B004-9E78-F25F-5638-99B1D42A69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What do we do if we’re starting data collection late?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030A26B-713A-7AD7-C96E-1B6E88091A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Plan now for next year</a:t>
            </a:r>
          </a:p>
          <a:p>
            <a:r>
              <a:rPr lang="en-US"/>
              <a:t>Do what you can now</a:t>
            </a:r>
          </a:p>
          <a:p>
            <a:pPr lvl="1"/>
            <a:r>
              <a:rPr lang="en-US"/>
              <a:t>Establish a metric and a data source</a:t>
            </a:r>
          </a:p>
          <a:p>
            <a:pPr lvl="1"/>
            <a:r>
              <a:rPr lang="en-US"/>
              <a:t>Compare middle of the year to end of the year</a:t>
            </a:r>
          </a:p>
        </p:txBody>
      </p:sp>
    </p:spTree>
    <p:extLst>
      <p:ext uri="{BB962C8B-B14F-4D97-AF65-F5344CB8AC3E}">
        <p14:creationId xmlns:p14="http://schemas.microsoft.com/office/powerpoint/2010/main" val="15716002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5CDED8-DBA1-D9B9-67A5-64B134066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What specific students should we collect data for?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312B613-BB64-2A47-BCEB-03E5B55BC0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00981"/>
            <a:ext cx="10515600" cy="4680153"/>
          </a:xfrm>
        </p:spPr>
        <p:txBody>
          <a:bodyPr>
            <a:normAutofit fontScale="92500" lnSpcReduction="10000"/>
          </a:bodyPr>
          <a:lstStyle/>
          <a:p>
            <a:pPr marL="457200" lvl="1" indent="0">
              <a:buNone/>
            </a:pPr>
            <a:r>
              <a:rPr lang="en-US" b="1"/>
              <a:t>Two Questions:</a:t>
            </a:r>
          </a:p>
          <a:p>
            <a:pPr lvl="1"/>
            <a:r>
              <a:rPr lang="en-US"/>
              <a:t>For targeted programs, do we compare students receiving services to those who are not?</a:t>
            </a:r>
          </a:p>
          <a:p>
            <a:pPr lvl="1"/>
            <a:r>
              <a:rPr lang="en-US"/>
              <a:t>For school-wide programs, how do we think about measuring growth if services touch the entire student body?</a:t>
            </a:r>
          </a:p>
          <a:p>
            <a:pPr marL="457200" lvl="1" indent="0">
              <a:buNone/>
            </a:pPr>
            <a:endParaRPr lang="en-US"/>
          </a:p>
          <a:p>
            <a:pPr marL="457200" lvl="1" indent="0">
              <a:buNone/>
            </a:pPr>
            <a:r>
              <a:rPr lang="en-US" b="1"/>
              <a:t>Same answers for both questions:</a:t>
            </a:r>
          </a:p>
          <a:p>
            <a:pPr lvl="1"/>
            <a:r>
              <a:rPr lang="en-US"/>
              <a:t>Compare students to grade-level achievement</a:t>
            </a:r>
          </a:p>
          <a:p>
            <a:pPr lvl="1"/>
            <a:r>
              <a:rPr lang="en-US"/>
              <a:t>Measure how much students grow, on which skills, and how close they come to benchmark</a:t>
            </a:r>
          </a:p>
          <a:p>
            <a:pPr lvl="1"/>
            <a:r>
              <a:rPr lang="en-US"/>
              <a:t>Disaggregate data simultaneously by grade and by skill</a:t>
            </a:r>
          </a:p>
          <a:p>
            <a:pPr marL="457200" lvl="1" indent="0">
              <a:buNone/>
            </a:pPr>
            <a:endParaRPr lang="en-US"/>
          </a:p>
          <a:p>
            <a:pPr marL="0" indent="0">
              <a:buNone/>
            </a:pPr>
            <a:r>
              <a:rPr lang="en-US"/>
              <a:t>         Because the goal is for students to achieve grade level skills.</a:t>
            </a: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5167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48E38F7-25D8-2307-0EFA-67189C27B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op and Reflect: For all your Title Funded Programs/Activitie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0BBC551-ACE9-D6AD-269A-BB884C0DC8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/>
              <a:t>Have you created a data collection plan with the right team and enough time?</a:t>
            </a:r>
          </a:p>
          <a:p>
            <a:r>
              <a:rPr lang="en-US"/>
              <a:t>Do you know what data you need to collect and when? Have you allowed enough time between BOY and EOY to give you the best chance to see growth?</a:t>
            </a:r>
          </a:p>
          <a:p>
            <a:r>
              <a:rPr lang="en-US"/>
              <a:t>If you started late this year, do you have a concrete timeline to plan your evaluation and data collection in advance for next year?</a:t>
            </a:r>
          </a:p>
          <a:p>
            <a:r>
              <a:rPr lang="en-US"/>
              <a:t>Does your analysis plan include understanding how students are progressing towards appropriate benchmarks?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3142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4949D5A-DAE9-A59E-F3AF-6CE1DB9C5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6889672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2D717-E527-C49F-A46F-DDC8BF7A0E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CCC43C-1D01-BF7C-DA4C-27FBE6F1F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llaboration and Thank You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F2070AB-AB7B-12FD-2EB1-3F66FB871A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If you would like to participate in a support consult to improve your evaluation practice, email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 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Arial"/>
                <a:cs typeface="Arial"/>
                <a:hlinkClick r:id="rId3"/>
              </a:rPr>
              <a:t>leif.jacobsen@mass.gov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!</a:t>
            </a:r>
          </a:p>
          <a:p>
            <a:pPr marL="0" indent="0">
              <a:buNone/>
            </a:pPr>
            <a:endParaRPr lang="en-US"/>
          </a:p>
          <a:p>
            <a:r>
              <a:rPr lang="en-US">
                <a:latin typeface="Arial"/>
                <a:cs typeface="Arial"/>
              </a:rPr>
              <a:t>That concludes today’s webinar – have a great day!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036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C7423AA-417F-49CB-B986-B1E3095A04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859600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C7423AA-417F-49CB-B986-B1E3095A040A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8150" y="1743076"/>
            <a:ext cx="11277600" cy="4396468"/>
          </a:xfrm>
        </p:spPr>
        <p:txBody>
          <a:bodyPr>
            <a:normAutofit/>
          </a:bodyPr>
          <a:lstStyle/>
          <a:p>
            <a:endParaRPr lang="en-US" sz="2700"/>
          </a:p>
          <a:p>
            <a:pPr marL="514350" indent="-514350" fontAlgn="base">
              <a:buFont typeface="+mj-lt"/>
              <a:buAutoNum type="arabicPeriod"/>
            </a:pPr>
            <a:endParaRPr lang="en-US" sz="2700"/>
          </a:p>
          <a:p>
            <a:pPr fontAlgn="base"/>
            <a:endParaRPr lang="en-US" sz="2700"/>
          </a:p>
          <a:p>
            <a:pPr fontAlgn="base"/>
            <a:endParaRPr lang="en-US" sz="1350"/>
          </a:p>
          <a:p>
            <a:pPr marL="0" indent="0" fontAlgn="base">
              <a:buNone/>
            </a:pPr>
            <a:endParaRPr lang="en-US" sz="1350"/>
          </a:p>
          <a:p>
            <a:pPr marL="0" indent="0">
              <a:buNone/>
            </a:pPr>
            <a:endParaRPr lang="en-US" sz="135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7B26DC9-278D-42BF-ADD3-28F5B0B01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bjectiv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B6BE54-F97D-75C6-6D92-33F89DF3C4C1}"/>
              </a:ext>
            </a:extLst>
          </p:cNvPr>
          <p:cNvSpPr txBox="1"/>
          <p:nvPr/>
        </p:nvSpPr>
        <p:spPr>
          <a:xfrm>
            <a:off x="674349" y="1848429"/>
            <a:ext cx="10282687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/>
              <a:t>By the end of today’s convening, participants will understand how to:</a:t>
            </a:r>
          </a:p>
          <a:p>
            <a:endParaRPr lang="en-US" sz="2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>
                <a:cs typeface="Arial" panose="020B0604020202020204" pitchFamily="34" charset="0"/>
              </a:rPr>
              <a:t>Use DESE’s program evaluation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>
                <a:cs typeface="Arial" panose="020B0604020202020204" pitchFamily="34" charset="0"/>
              </a:rPr>
              <a:t>Align </a:t>
            </a:r>
            <a:r>
              <a:rPr lang="en-US" sz="2400"/>
              <a:t>programming, goals, and metr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Plan data collection and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468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6B3FBA-1B60-8402-DDDC-655B37DAEF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is this important?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F953FF3-8F7B-2AB6-297F-57E740596C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3029" y="1709057"/>
            <a:ext cx="11419114" cy="4648199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endParaRPr lang="en-US" sz="3600"/>
          </a:p>
          <a:p>
            <a:pPr marL="0" indent="0">
              <a:buNone/>
            </a:pPr>
            <a:r>
              <a:rPr lang="en-US" sz="3600"/>
              <a:t>Federal law mandates that as a condition of accepting Title grant funding, a district must annually evaluate its Title grant programs.</a:t>
            </a:r>
          </a:p>
          <a:p>
            <a:pPr marL="0" indent="0">
              <a:buNone/>
            </a:pPr>
            <a:endParaRPr lang="en-US" sz="3600"/>
          </a:p>
          <a:p>
            <a:pPr marL="0" indent="0" algn="ctr">
              <a:buNone/>
            </a:pPr>
            <a:r>
              <a:rPr lang="en-US" sz="3600" b="1"/>
              <a:t>You should be regularly using data to:</a:t>
            </a:r>
          </a:p>
          <a:p>
            <a:r>
              <a:rPr lang="en-US" sz="3600"/>
              <a:t>Identify the current/right needs</a:t>
            </a:r>
          </a:p>
          <a:p>
            <a:r>
              <a:rPr lang="en-US" sz="3600"/>
              <a:t>Ensure you’re addressing the needs you identified</a:t>
            </a:r>
          </a:p>
          <a:p>
            <a:r>
              <a:rPr lang="en-US" sz="3600"/>
              <a:t>Identify what’s going well</a:t>
            </a:r>
          </a:p>
          <a:p>
            <a:r>
              <a:rPr lang="en-US" sz="3600"/>
              <a:t>Identify what needs to improve </a:t>
            </a:r>
          </a:p>
          <a:p>
            <a:r>
              <a:rPr lang="en-US" sz="3600"/>
              <a:t>Use findings for planning and improvement.</a:t>
            </a:r>
          </a:p>
          <a:p>
            <a:r>
              <a:rPr lang="en-US" sz="3600"/>
              <a:t>Document progress against your goals</a:t>
            </a:r>
          </a:p>
        </p:txBody>
      </p:sp>
    </p:spTree>
    <p:extLst>
      <p:ext uri="{BB962C8B-B14F-4D97-AF65-F5344CB8AC3E}">
        <p14:creationId xmlns:p14="http://schemas.microsoft.com/office/powerpoint/2010/main" val="27556403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8F214B-2C64-D00F-2ABD-488A3B0A1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ere to Find Evaluation Resource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E1FCF5-7FEE-AEA6-A7AD-1AFFF39B80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864" y="2573769"/>
            <a:ext cx="3011424" cy="2442790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800"/>
              <a:t>1. On DESE Website, go to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/>
              <a:t>Federal Grant Programs </a:t>
            </a:r>
          </a:p>
          <a:p>
            <a:pPr marL="0" indent="0">
              <a:buNone/>
            </a:pPr>
            <a:r>
              <a:rPr lang="en-US" sz="1800"/>
              <a:t>-&gt; </a:t>
            </a:r>
          </a:p>
          <a:p>
            <a:pPr marL="0" indent="0">
              <a:buNone/>
            </a:pPr>
            <a:r>
              <a:rPr lang="en-US" sz="1800"/>
              <a:t>General Resources for Federal Grant Programs -&gt;</a:t>
            </a:r>
          </a:p>
          <a:p>
            <a:pPr marL="0" indent="0">
              <a:buNone/>
            </a:pPr>
            <a:r>
              <a:rPr lang="en-US" sz="1800"/>
              <a:t> </a:t>
            </a:r>
          </a:p>
          <a:p>
            <a:pPr marL="0" indent="0">
              <a:buNone/>
            </a:pPr>
            <a:r>
              <a:rPr lang="en-US" sz="1800"/>
              <a:t>ESSA Program Evaluation</a:t>
            </a:r>
          </a:p>
        </p:txBody>
      </p:sp>
      <p:pic>
        <p:nvPicPr>
          <p:cNvPr id="6" name="Picture 5" descr="Grant Resources for Federal Grant Programs webpage with ESSA Program Evaluation resources highlighted">
            <a:extLst>
              <a:ext uri="{FF2B5EF4-FFF2-40B4-BE49-F238E27FC236}">
                <a16:creationId xmlns:a16="http://schemas.microsoft.com/office/drawing/2014/main" id="{3C3B570F-D8E2-19B3-AF57-526E0D1380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1534" y="1815428"/>
            <a:ext cx="6981559" cy="426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691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F159539-8401-A73F-4824-FC194FE20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ources: What’s New?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066DA8-7D45-A97B-B398-9D0399AE32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/>
              <a:t>Title I Evaluation “Strong Example”</a:t>
            </a:r>
          </a:p>
          <a:p>
            <a:r>
              <a:rPr lang="en-US"/>
              <a:t>Coming Soon: Working on a Title II “Strong Example”</a:t>
            </a:r>
          </a:p>
          <a:p>
            <a:r>
              <a:rPr lang="en-US"/>
              <a:t>Slides and recording of this webinar</a:t>
            </a:r>
          </a:p>
          <a:p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 i="1"/>
          </a:p>
          <a:p>
            <a:pPr marL="0" indent="0">
              <a:buNone/>
            </a:pPr>
            <a:endParaRPr lang="en-US" i="1"/>
          </a:p>
          <a:p>
            <a:pPr marL="0" indent="0" algn="ctr">
              <a:buNone/>
            </a:pPr>
            <a:r>
              <a:rPr lang="en-US" i="1"/>
              <a:t>What else would be helpful?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8879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6C1734E-67AC-A842-A3FF-B8CDCEDFC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book Checklist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E75CD16-0167-1B37-B8D3-1C4B52B25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249841"/>
              </p:ext>
            </p:extLst>
          </p:nvPr>
        </p:nvGraphicFramePr>
        <p:xfrm>
          <a:off x="760363" y="1756406"/>
          <a:ext cx="10855104" cy="52120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2089">
                  <a:extLst>
                    <a:ext uri="{9D8B030D-6E8A-4147-A177-3AD203B41FA5}">
                      <a16:colId xmlns:a16="http://schemas.microsoft.com/office/drawing/2014/main" val="3302590166"/>
                    </a:ext>
                  </a:extLst>
                </a:gridCol>
                <a:gridCol w="5603194">
                  <a:extLst>
                    <a:ext uri="{9D8B030D-6E8A-4147-A177-3AD203B41FA5}">
                      <a16:colId xmlns:a16="http://schemas.microsoft.com/office/drawing/2014/main" val="3456428771"/>
                    </a:ext>
                  </a:extLst>
                </a:gridCol>
                <a:gridCol w="1649821">
                  <a:extLst>
                    <a:ext uri="{9D8B030D-6E8A-4147-A177-3AD203B41FA5}">
                      <a16:colId xmlns:a16="http://schemas.microsoft.com/office/drawing/2014/main" val="982249187"/>
                    </a:ext>
                  </a:extLst>
                </a:gridCol>
              </a:tblGrid>
              <a:tr h="391198"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Done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3508083"/>
                  </a:ext>
                </a:extLst>
              </a:tr>
              <a:tr h="520033"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1. Identify members of the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0"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What skill(s) do we need on our team and who has those skills?</a:t>
                      </a:r>
                      <a:endParaRPr lang="en-US" sz="1400" kern="100">
                        <a:effectLst/>
                        <a:latin typeface="+mn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5538253"/>
                  </a:ext>
                </a:extLst>
              </a:tr>
              <a:tr h="520033"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2. Conduct Needs Assessment and Design Theory of 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+mn-lt"/>
                        </a:rPr>
                        <a:t>What’s the problem we are trying to solve? What data tells us it’s a problem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+mn-lt"/>
                        </a:rPr>
                        <a:t>What are the short- and long-term goals of our program? What key actions will get us to our goal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4686499"/>
                  </a:ext>
                </a:extLst>
              </a:tr>
              <a:tr h="761351"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3. Define program goal and evaluation question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did we design our program to do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do we want to find out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w would we know? What is measurable and attainable?</a:t>
                      </a:r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9351784"/>
                  </a:ext>
                </a:extLst>
              </a:tr>
              <a:tr h="321925"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4. Create a data collection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0"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ow and when do we collect the data?</a:t>
                      </a:r>
                      <a:endParaRPr lang="en-US" sz="1400" kern="100">
                        <a:effectLst/>
                        <a:latin typeface="+mn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754881"/>
                  </a:ext>
                </a:extLst>
              </a:tr>
              <a:tr h="291659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400" kern="100">
                        <a:effectLst/>
                        <a:latin typeface="+mn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7458699"/>
                  </a:ext>
                </a:extLst>
              </a:tr>
              <a:tr h="440158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5. Write Program Evaluation Proced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What are the key components of this submission and how do we write it?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247343"/>
                  </a:ext>
                </a:extLst>
              </a:tr>
              <a:tr h="427220"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6. Analyze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0"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How do we analyze our findings?</a:t>
                      </a:r>
                      <a:endParaRPr lang="en-US" sz="1400" kern="100">
                        <a:effectLst/>
                        <a:latin typeface="+mn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  <a:p>
                      <a:pPr marL="0" marR="0" inden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400" kern="100">
                        <a:effectLst/>
                        <a:latin typeface="+mn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2402405"/>
                  </a:ext>
                </a:extLst>
              </a:tr>
              <a:tr h="427220"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7. Write Program Evaluation Summ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00">
                          <a:effectLst/>
                          <a:latin typeface="+mn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What are the key components of this submission and how do we write it?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449785"/>
                  </a:ext>
                </a:extLst>
              </a:tr>
              <a:tr h="628498">
                <a:tc>
                  <a:txBody>
                    <a:bodyPr/>
                    <a:lstStyle/>
                    <a:p>
                      <a:r>
                        <a:rPr lang="en-US" sz="1400">
                          <a:latin typeface="+mn-lt"/>
                        </a:rPr>
                        <a:t>8. Report, discuss, and apply evaluation find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0"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How do we report our findings and what do we do because of our findings?</a:t>
                      </a:r>
                      <a:endParaRPr lang="en-US" sz="1400" kern="100">
                        <a:effectLst/>
                        <a:latin typeface="+mn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464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00319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E23C4D-87D6-ADF4-44A0-AB379D87A3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valuation Timelin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CDB18D3-1288-ED38-594F-76A952ABDF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1787020"/>
              </p:ext>
            </p:extLst>
          </p:nvPr>
        </p:nvGraphicFramePr>
        <p:xfrm>
          <a:off x="1814000" y="2131367"/>
          <a:ext cx="8313480" cy="40793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2696">
                  <a:extLst>
                    <a:ext uri="{9D8B030D-6E8A-4147-A177-3AD203B41FA5}">
                      <a16:colId xmlns:a16="http://schemas.microsoft.com/office/drawing/2014/main" val="3394083475"/>
                    </a:ext>
                  </a:extLst>
                </a:gridCol>
                <a:gridCol w="1662696">
                  <a:extLst>
                    <a:ext uri="{9D8B030D-6E8A-4147-A177-3AD203B41FA5}">
                      <a16:colId xmlns:a16="http://schemas.microsoft.com/office/drawing/2014/main" val="3040999408"/>
                    </a:ext>
                  </a:extLst>
                </a:gridCol>
                <a:gridCol w="1662696">
                  <a:extLst>
                    <a:ext uri="{9D8B030D-6E8A-4147-A177-3AD203B41FA5}">
                      <a16:colId xmlns:a16="http://schemas.microsoft.com/office/drawing/2014/main" val="3892137450"/>
                    </a:ext>
                  </a:extLst>
                </a:gridCol>
                <a:gridCol w="1662696">
                  <a:extLst>
                    <a:ext uri="{9D8B030D-6E8A-4147-A177-3AD203B41FA5}">
                      <a16:colId xmlns:a16="http://schemas.microsoft.com/office/drawing/2014/main" val="3706014082"/>
                    </a:ext>
                  </a:extLst>
                </a:gridCol>
                <a:gridCol w="1662696">
                  <a:extLst>
                    <a:ext uri="{9D8B030D-6E8A-4147-A177-3AD203B41FA5}">
                      <a16:colId xmlns:a16="http://schemas.microsoft.com/office/drawing/2014/main" val="3276822647"/>
                    </a:ext>
                  </a:extLst>
                </a:gridCol>
              </a:tblGrid>
              <a:tr h="482706">
                <a:tc>
                  <a:txBody>
                    <a:bodyPr/>
                    <a:lstStyle/>
                    <a:p>
                      <a:r>
                        <a:rPr lang="en-US" sz="2400"/>
                        <a:t>Summ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/>
                        <a:t>F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/>
                        <a:t>Wi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/>
                        <a:t>Sp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/>
                        <a:t>Summer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0081699"/>
                  </a:ext>
                </a:extLst>
              </a:tr>
              <a:tr h="3390264">
                <a:tc>
                  <a:txBody>
                    <a:bodyPr/>
                    <a:lstStyle/>
                    <a:p>
                      <a:endParaRPr lang="en-US" sz="1400"/>
                    </a:p>
                    <a:p>
                      <a:r>
                        <a:rPr lang="en-US" sz="1800"/>
                        <a:t>Establish goals of program</a:t>
                      </a:r>
                    </a:p>
                    <a:p>
                      <a:endParaRPr lang="en-US" sz="18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/>
                        <a:t>Create Theory of Action for program</a:t>
                      </a:r>
                    </a:p>
                    <a:p>
                      <a:r>
                        <a:rPr lang="en-US" sz="1800"/>
                        <a:t> </a:t>
                      </a:r>
                    </a:p>
                    <a:p>
                      <a:endParaRPr lang="en-US" sz="18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Establish evaluation metrics</a:t>
                      </a:r>
                    </a:p>
                    <a:p>
                      <a:endParaRPr lang="en-US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  <a:p>
                      <a:r>
                        <a:rPr lang="en-US"/>
                        <a:t>Meet with key stakeholders</a:t>
                      </a:r>
                    </a:p>
                    <a:p>
                      <a:endParaRPr lang="en-US"/>
                    </a:p>
                    <a:p>
                      <a:r>
                        <a:rPr lang="en-US"/>
                        <a:t>Set data collection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  <a:p>
                      <a:r>
                        <a:rPr lang="en-US"/>
                        <a:t>Collect data</a:t>
                      </a:r>
                    </a:p>
                    <a:p>
                      <a:endParaRPr lang="en-US"/>
                    </a:p>
                    <a:p>
                      <a:r>
                        <a:rPr lang="en-US"/>
                        <a:t>Draft program evaluation procedu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  <a:p>
                      <a:r>
                        <a:rPr lang="en-US"/>
                        <a:t>Collect data</a:t>
                      </a:r>
                    </a:p>
                    <a:p>
                      <a:endParaRPr lang="en-US"/>
                    </a:p>
                    <a:p>
                      <a:r>
                        <a:rPr lang="en-US"/>
                        <a:t>Draft program evaluation summ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  <a:p>
                      <a:r>
                        <a:rPr lang="en-US"/>
                        <a:t>Make final edits to documents &amp; disseminate to key community stakehold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25424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43912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4024964-00A8-9329-F705-4B2DEDBB9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Collection – Check In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4F5A46E-AE29-7840-FB98-FB359DE65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87286"/>
            <a:ext cx="10515600" cy="4452257"/>
          </a:xfrm>
        </p:spPr>
        <p:txBody>
          <a:bodyPr>
            <a:normAutofit fontScale="92500" lnSpcReduction="20000"/>
          </a:bodyPr>
          <a:lstStyle/>
          <a:p>
            <a:r>
              <a:rPr lang="en-US" sz="4000"/>
              <a:t>Here’s where you should be at this point in the year:</a:t>
            </a:r>
          </a:p>
          <a:p>
            <a:pPr lvl="1"/>
            <a:r>
              <a:rPr lang="en-US" sz="3600"/>
              <a:t>Evaluation team members identified</a:t>
            </a:r>
          </a:p>
          <a:p>
            <a:pPr lvl="1"/>
            <a:r>
              <a:rPr lang="en-US" sz="3600"/>
              <a:t>Needs assessment based on data completed </a:t>
            </a:r>
          </a:p>
          <a:p>
            <a:pPr lvl="1"/>
            <a:r>
              <a:rPr lang="en-US" sz="3600"/>
              <a:t>Program goals and metrics established</a:t>
            </a:r>
          </a:p>
          <a:p>
            <a:pPr lvl="1"/>
            <a:r>
              <a:rPr lang="en-US" sz="3600"/>
              <a:t>Data collection plan developed:</a:t>
            </a:r>
          </a:p>
          <a:p>
            <a:pPr lvl="2"/>
            <a:r>
              <a:rPr lang="en-US" sz="3200"/>
              <a:t>Calendar for when student testing and other (e.g., survey) administration will happen based on your specific plan</a:t>
            </a:r>
          </a:p>
          <a:p>
            <a:pPr lvl="2"/>
            <a:r>
              <a:rPr lang="en-US" sz="3200"/>
              <a:t>Team members identified who will clean and analyze the data</a:t>
            </a:r>
          </a:p>
        </p:txBody>
      </p:sp>
    </p:spTree>
    <p:extLst>
      <p:ext uri="{BB962C8B-B14F-4D97-AF65-F5344CB8AC3E}">
        <p14:creationId xmlns:p14="http://schemas.microsoft.com/office/powerpoint/2010/main" val="1323650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SE_Template" id="{8B1FC134-3306-8949-8EE6-54D8D1A68082}" vid="{D023F173-81C9-6C41-B8A8-A9E8365AC2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7cbf261-e971-4a38-83b4-d85e273e70b4">
      <Terms xmlns="http://schemas.microsoft.com/office/infopath/2007/PartnerControls"/>
    </lcf76f155ced4ddcb4097134ff3c332f>
    <TaxCatchAll xmlns="46f7fc10-315f-4884-8231-57a9c90b9c56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9D2FCE26A5CF42B73DB707666E1E83" ma:contentTypeVersion="16" ma:contentTypeDescription="Create a new document." ma:contentTypeScope="" ma:versionID="fc7484f2cfe3011e4eadd9b353f5eff9">
  <xsd:schema xmlns:xsd="http://www.w3.org/2001/XMLSchema" xmlns:xs="http://www.w3.org/2001/XMLSchema" xmlns:p="http://schemas.microsoft.com/office/2006/metadata/properties" xmlns:ns2="67cbf261-e971-4a38-83b4-d85e273e70b4" xmlns:ns3="46f7fc10-315f-4884-8231-57a9c90b9c56" targetNamespace="http://schemas.microsoft.com/office/2006/metadata/properties" ma:root="true" ma:fieldsID="374b2130b528fb46b2947029f486e9fd" ns2:_="" ns3:_="">
    <xsd:import namespace="67cbf261-e971-4a38-83b4-d85e273e70b4"/>
    <xsd:import namespace="46f7fc10-315f-4884-8231-57a9c90b9c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bf261-e971-4a38-83b4-d85e273e70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f7fc10-315f-4884-8231-57a9c90b9c5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59dfc3a5-e0cb-420d-bb1c-baaddc6e8637}" ma:internalName="TaxCatchAll" ma:showField="CatchAllData" ma:web="46f7fc10-315f-4884-8231-57a9c90b9c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A35FEAD-FB3C-4788-A356-708643ABE1CE}">
  <ds:schemaRefs>
    <ds:schemaRef ds:uri="http://schemas.openxmlformats.org/package/2006/metadata/core-properties"/>
    <ds:schemaRef ds:uri="http://purl.org/dc/terms/"/>
    <ds:schemaRef ds:uri="http://purl.org/dc/elements/1.1/"/>
    <ds:schemaRef ds:uri="67cbf261-e971-4a38-83b4-d85e273e70b4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46f7fc10-315f-4884-8231-57a9c90b9c56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060892B-A752-45DC-88EA-C245E69CF733}">
  <ds:schemaRefs>
    <ds:schemaRef ds:uri="46f7fc10-315f-4884-8231-57a9c90b9c56"/>
    <ds:schemaRef ds:uri="67cbf261-e971-4a38-83b4-d85e273e70b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6913C1F-7BD9-46EC-B121-E1947FD34F1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</TotalTime>
  <Words>1801</Words>
  <Application>Microsoft Office PowerPoint</Application>
  <PresentationFormat>Widescreen</PresentationFormat>
  <Paragraphs>262</Paragraphs>
  <Slides>29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0" baseType="lpstr">
      <vt:lpstr>等线</vt:lpstr>
      <vt:lpstr>Segoe</vt:lpstr>
      <vt:lpstr>Aptos</vt:lpstr>
      <vt:lpstr>Arial</vt:lpstr>
      <vt:lpstr>Calibri</vt:lpstr>
      <vt:lpstr>Courier New</vt:lpstr>
      <vt:lpstr>Segoe UI</vt:lpstr>
      <vt:lpstr>Segoe UI Semibold</vt:lpstr>
      <vt:lpstr>Wingdings</vt:lpstr>
      <vt:lpstr>1_Office Theme</vt:lpstr>
      <vt:lpstr>think-cell Slide</vt:lpstr>
      <vt:lpstr>Program Evaluation Webinar</vt:lpstr>
      <vt:lpstr>Introductions</vt:lpstr>
      <vt:lpstr>Objectives</vt:lpstr>
      <vt:lpstr>Why is this important?</vt:lpstr>
      <vt:lpstr>Where to Find Evaluation Resources</vt:lpstr>
      <vt:lpstr>Resources: What’s New?</vt:lpstr>
      <vt:lpstr>Workbook Checklist</vt:lpstr>
      <vt:lpstr>Evaluation Timeline</vt:lpstr>
      <vt:lpstr>Data Collection – Check In</vt:lpstr>
      <vt:lpstr>Here’s what I’m going to talk about with my time</vt:lpstr>
      <vt:lpstr>Aligning programming, goals, and metrics</vt:lpstr>
      <vt:lpstr>How do we align program activities, goals, and metrics?</vt:lpstr>
      <vt:lpstr>What’s essential for a good theory of action?</vt:lpstr>
      <vt:lpstr>Explicit Detail </vt:lpstr>
      <vt:lpstr>Explicit Detail</vt:lpstr>
      <vt:lpstr>Cause and Effect </vt:lpstr>
      <vt:lpstr>Our Title I funds lots of different things. How do we identify our goals?</vt:lpstr>
      <vt:lpstr>What makes a good metric?</vt:lpstr>
      <vt:lpstr>What makes a good metric?   </vt:lpstr>
      <vt:lpstr>What makes a good metric?    </vt:lpstr>
      <vt:lpstr>Stop and Reflect: For all your Title Funded Programs/Activities …</vt:lpstr>
      <vt:lpstr>Planning data collection and analysis</vt:lpstr>
      <vt:lpstr>What can we do on the front end to make data collection go smoothly? </vt:lpstr>
      <vt:lpstr>What’s the best timeline for collecting data to measure growth? </vt:lpstr>
      <vt:lpstr>What do we do if we’re starting data collection late?</vt:lpstr>
      <vt:lpstr>What specific students should we collect data for? </vt:lpstr>
      <vt:lpstr>Stop and Reflect: For all your Title Funded Programs/Activities</vt:lpstr>
      <vt:lpstr>QUESTIONS?</vt:lpstr>
      <vt:lpstr>Collaboration and 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 Evaluation Webinar November 18th, 2025</dc:title>
  <dc:creator>DESE</dc:creator>
  <cp:lastModifiedBy>Zou, Dong (EOE)</cp:lastModifiedBy>
  <cp:revision>3</cp:revision>
  <cp:lastPrinted>2025-11-10T13:56:00Z</cp:lastPrinted>
  <dcterms:created xsi:type="dcterms:W3CDTF">2024-12-10T20:36:05Z</dcterms:created>
  <dcterms:modified xsi:type="dcterms:W3CDTF">2025-11-14T20:0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Nov 14 2025 12:00AM</vt:lpwstr>
  </property>
</Properties>
</file>